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367" r:id="rId3"/>
    <p:sldId id="2371" r:id="rId4"/>
    <p:sldId id="2357" r:id="rId5"/>
    <p:sldId id="2361" r:id="rId6"/>
    <p:sldId id="2370" r:id="rId7"/>
    <p:sldId id="2369" r:id="rId8"/>
    <p:sldId id="2368" r:id="rId9"/>
    <p:sldId id="261" r:id="rId10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CC9B00"/>
    <a:srgbClr val="1E5BC3"/>
    <a:srgbClr val="1057B3"/>
    <a:srgbClr val="84A0CE"/>
    <a:srgbClr val="ECECEC"/>
    <a:srgbClr val="BFD1FC"/>
    <a:srgbClr val="C5DCFA"/>
    <a:srgbClr val="5E7CC6"/>
    <a:srgbClr val="88AA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11" autoAdjust="0"/>
    <p:restoredTop sz="92084" autoAdjust="0"/>
  </p:normalViewPr>
  <p:slideViewPr>
    <p:cSldViewPr snapToGrid="0">
      <p:cViewPr varScale="1">
        <p:scale>
          <a:sx n="104" d="100"/>
          <a:sy n="104" d="100"/>
        </p:scale>
        <p:origin x="144" y="144"/>
      </p:cViewPr>
      <p:guideLst>
        <p:guide orient="horz" pos="2232"/>
        <p:guide pos="3840"/>
      </p:guideLst>
    </p:cSldViewPr>
  </p:slideViewPr>
  <p:outlineViewPr>
    <p:cViewPr>
      <p:scale>
        <a:sx n="33" d="100"/>
        <a:sy n="33" d="100"/>
      </p:scale>
      <p:origin x="0" y="15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2765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xmlns="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1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1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3127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45132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5668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92184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3186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6534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2887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3576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4264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3.wdp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ṡľiḋe">
            <a:extLst>
              <a:ext uri="{FF2B5EF4-FFF2-40B4-BE49-F238E27FC236}">
                <a16:creationId xmlns:a16="http://schemas.microsoft.com/office/drawing/2014/main" xmlns="" id="{615F1564-D3CE-44C0-91EF-3A3CD7219584}"/>
              </a:ext>
            </a:extLst>
          </p:cNvPr>
          <p:cNvSpPr/>
          <p:nvPr userDrawn="1"/>
        </p:nvSpPr>
        <p:spPr>
          <a:xfrm>
            <a:off x="-27940" y="0"/>
            <a:ext cx="12219940" cy="6858000"/>
          </a:xfrm>
          <a:prstGeom prst="rect">
            <a:avLst/>
          </a:prstGeom>
          <a:gradFill>
            <a:gsLst>
              <a:gs pos="100000">
                <a:srgbClr val="05048D"/>
              </a:gs>
              <a:gs pos="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 descr="蓝点">
            <a:extLst>
              <a:ext uri="{FF2B5EF4-FFF2-40B4-BE49-F238E27FC236}">
                <a16:creationId xmlns:a16="http://schemas.microsoft.com/office/drawing/2014/main" xmlns="" id="{0D121DB4-1217-43D7-99FC-036012886F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339000"/>
                    </a14:imgEffect>
                    <a14:imgEffect>
                      <a14:brightnessContrast bright="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2381520" y="4592869"/>
            <a:ext cx="7428957" cy="2265132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946398" y="3025184"/>
            <a:ext cx="6299202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2946398" y="1773937"/>
            <a:ext cx="6299202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4" name="ïṧḻîḍè">
            <a:extLst>
              <a:ext uri="{FF2B5EF4-FFF2-40B4-BE49-F238E27FC236}">
                <a16:creationId xmlns:a16="http://schemas.microsoft.com/office/drawing/2014/main" xmlns="" id="{3D27192C-0803-4308-9077-08FCFDCF5E88}"/>
              </a:ext>
            </a:extLst>
          </p:cNvPr>
          <p:cNvSpPr/>
          <p:nvPr userDrawn="1"/>
        </p:nvSpPr>
        <p:spPr>
          <a:xfrm>
            <a:off x="8537575" y="1291633"/>
            <a:ext cx="2298700" cy="2298700"/>
          </a:xfrm>
          <a:prstGeom prst="ellipse">
            <a:avLst/>
          </a:prstGeom>
          <a:solidFill>
            <a:srgbClr val="14FFFF">
              <a:alpha val="1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is1îḓê">
            <a:extLst>
              <a:ext uri="{FF2B5EF4-FFF2-40B4-BE49-F238E27FC236}">
                <a16:creationId xmlns:a16="http://schemas.microsoft.com/office/drawing/2014/main" xmlns="" id="{0E308C7A-A5B4-40A6-B384-21DD296E164E}"/>
              </a:ext>
            </a:extLst>
          </p:cNvPr>
          <p:cNvSpPr/>
          <p:nvPr userDrawn="1"/>
        </p:nvSpPr>
        <p:spPr>
          <a:xfrm>
            <a:off x="10521496" y="1130300"/>
            <a:ext cx="857704" cy="857704"/>
          </a:xfrm>
          <a:prstGeom prst="ellipse">
            <a:avLst/>
          </a:prstGeom>
          <a:solidFill>
            <a:srgbClr val="14FFFF">
              <a:alpha val="2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ïṥļiḑê">
            <a:extLst>
              <a:ext uri="{FF2B5EF4-FFF2-40B4-BE49-F238E27FC236}">
                <a16:creationId xmlns:a16="http://schemas.microsoft.com/office/drawing/2014/main" xmlns="" id="{82BF8580-4CC7-4924-BD45-9565AFD937E0}"/>
              </a:ext>
            </a:extLst>
          </p:cNvPr>
          <p:cNvSpPr/>
          <p:nvPr userDrawn="1"/>
        </p:nvSpPr>
        <p:spPr>
          <a:xfrm>
            <a:off x="-606426" y="4585224"/>
            <a:ext cx="3171823" cy="3171823"/>
          </a:xfrm>
          <a:prstGeom prst="ellipse">
            <a:avLst/>
          </a:prstGeom>
          <a:solidFill>
            <a:srgbClr val="14FFFF">
              <a:alpha val="1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îSlíḓê">
            <a:extLst>
              <a:ext uri="{FF2B5EF4-FFF2-40B4-BE49-F238E27FC236}">
                <a16:creationId xmlns:a16="http://schemas.microsoft.com/office/drawing/2014/main" xmlns="" id="{A66AA6CD-CDF8-44A8-A8A1-5D7D67FCF6EB}"/>
              </a:ext>
            </a:extLst>
          </p:cNvPr>
          <p:cNvSpPr/>
          <p:nvPr userDrawn="1"/>
        </p:nvSpPr>
        <p:spPr>
          <a:xfrm>
            <a:off x="0" y="4346578"/>
            <a:ext cx="855730" cy="855730"/>
          </a:xfrm>
          <a:prstGeom prst="ellipse">
            <a:avLst/>
          </a:prstGeom>
          <a:solidFill>
            <a:srgbClr val="14FFFF">
              <a:alpha val="20000"/>
            </a:srgbClr>
          </a:solidFill>
          <a:ln>
            <a:noFill/>
          </a:ln>
          <a:effectLst>
            <a:softEdge rad="152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jay\Desktop\澎博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950" y="5348941"/>
            <a:ext cx="1866900" cy="186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4011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jay\Desktop\澎博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950" y="5348941"/>
            <a:ext cx="1866900" cy="186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5921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şlíde">
            <a:extLst>
              <a:ext uri="{FF2B5EF4-FFF2-40B4-BE49-F238E27FC236}">
                <a16:creationId xmlns:a16="http://schemas.microsoft.com/office/drawing/2014/main" xmlns="" id="{4A53059A-FC85-4762-B0AD-226D5A9EA88B}"/>
              </a:ext>
            </a:extLst>
          </p:cNvPr>
          <p:cNvSpPr/>
          <p:nvPr userDrawn="1"/>
        </p:nvSpPr>
        <p:spPr>
          <a:xfrm>
            <a:off x="-27940" y="0"/>
            <a:ext cx="1221994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05048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3" name="图片 2" descr="蓝点">
            <a:extLst>
              <a:ext uri="{FF2B5EF4-FFF2-40B4-BE49-F238E27FC236}">
                <a16:creationId xmlns:a16="http://schemas.microsoft.com/office/drawing/2014/main" xmlns="" id="{89A74DEC-B0AE-40F7-9B12-7054FC61FD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39000"/>
                    </a14:imgEffect>
                    <a14:imgEffect>
                      <a14:brightnessContrast bright="15000" contrast="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2083343" y="4436897"/>
            <a:ext cx="8025311" cy="2446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0930001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19953" y="252786"/>
            <a:ext cx="2635624" cy="392672"/>
          </a:xfrm>
          <a:prstGeom prst="rect">
            <a:avLst/>
          </a:prstGeom>
        </p:spPr>
        <p:txBody>
          <a:bodyPr anchor="b"/>
          <a:lstStyle>
            <a:lvl1pPr algn="l">
              <a:defRPr sz="1600" b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774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ṧliḋe">
            <a:extLst>
              <a:ext uri="{FF2B5EF4-FFF2-40B4-BE49-F238E27FC236}">
                <a16:creationId xmlns:a16="http://schemas.microsoft.com/office/drawing/2014/main" xmlns="" id="{BA55DA61-9DBF-491E-A5A8-9ECD41FCC6DD}"/>
              </a:ext>
            </a:extLst>
          </p:cNvPr>
          <p:cNvSpPr/>
          <p:nvPr userDrawn="1"/>
        </p:nvSpPr>
        <p:spPr>
          <a:xfrm>
            <a:off x="-27940" y="0"/>
            <a:ext cx="12219940" cy="6858000"/>
          </a:xfrm>
          <a:prstGeom prst="rect">
            <a:avLst/>
          </a:prstGeom>
          <a:gradFill flip="none" rotWithShape="1">
            <a:gsLst>
              <a:gs pos="0">
                <a:srgbClr val="05048D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5933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5945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3" name="图片 2" descr="蓝点">
            <a:extLst>
              <a:ext uri="{FF2B5EF4-FFF2-40B4-BE49-F238E27FC236}">
                <a16:creationId xmlns:a16="http://schemas.microsoft.com/office/drawing/2014/main" xmlns="" id="{6480FD73-84BE-4BD8-80C2-D56E70E74D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saturation sat="339000"/>
                    </a14:imgEffect>
                    <a14:imgEffect>
                      <a14:brightnessContrast bright="15000" contrast="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 rot="16200000">
            <a:off x="8100750" y="2473033"/>
            <a:ext cx="6270568" cy="1911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5/1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5/1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>
            <a:extLst>
              <a:ext uri="{FF2B5EF4-FFF2-40B4-BE49-F238E27FC236}">
                <a16:creationId xmlns:a16="http://schemas.microsoft.com/office/drawing/2014/main" xmlns="" id="{4DAA5263-6EB2-47A2-9866-7FA23F1C0DDB}"/>
              </a:ext>
            </a:extLst>
          </p:cNvPr>
          <p:cNvSpPr/>
          <p:nvPr userDrawn="1"/>
        </p:nvSpPr>
        <p:spPr>
          <a:xfrm>
            <a:off x="0" y="0"/>
            <a:ext cx="7536311" cy="6858000"/>
          </a:xfrm>
          <a:custGeom>
            <a:avLst/>
            <a:gdLst>
              <a:gd name="connsiteX0" fmla="*/ 1917701 w 7536311"/>
              <a:gd name="connsiteY0" fmla="*/ 0 h 6858000"/>
              <a:gd name="connsiteX1" fmla="*/ 7536311 w 7536311"/>
              <a:gd name="connsiteY1" fmla="*/ 5618611 h 6858000"/>
              <a:gd name="connsiteX2" fmla="*/ 7422161 w 7536311"/>
              <a:gd name="connsiteY2" fmla="*/ 6750957 h 6858000"/>
              <a:gd name="connsiteX3" fmla="*/ 7397456 w 7536311"/>
              <a:gd name="connsiteY3" fmla="*/ 6858000 h 6858000"/>
              <a:gd name="connsiteX4" fmla="*/ 4289723 w 7536311"/>
              <a:gd name="connsiteY4" fmla="*/ 6858000 h 6858000"/>
              <a:gd name="connsiteX5" fmla="*/ 4384726 w 7536311"/>
              <a:gd name="connsiteY5" fmla="*/ 6660787 h 6858000"/>
              <a:gd name="connsiteX6" fmla="*/ 4595131 w 7536311"/>
              <a:gd name="connsiteY6" fmla="*/ 5618610 h 6858000"/>
              <a:gd name="connsiteX7" fmla="*/ 1917700 w 7536311"/>
              <a:gd name="connsiteY7" fmla="*/ 2941178 h 6858000"/>
              <a:gd name="connsiteX8" fmla="*/ 24470 w 7536311"/>
              <a:gd name="connsiteY8" fmla="*/ 3725380 h 6858000"/>
              <a:gd name="connsiteX9" fmla="*/ 0 w 7536311"/>
              <a:gd name="connsiteY9" fmla="*/ 3752303 h 6858000"/>
              <a:gd name="connsiteX10" fmla="*/ 0 w 7536311"/>
              <a:gd name="connsiteY10" fmla="*/ 336143 h 6858000"/>
              <a:gd name="connsiteX11" fmla="*/ 246898 w 7536311"/>
              <a:gd name="connsiteY11" fmla="*/ 252602 h 6858000"/>
              <a:gd name="connsiteX12" fmla="*/ 1917701 w 7536311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36311" h="6858000">
                <a:moveTo>
                  <a:pt x="1917701" y="0"/>
                </a:moveTo>
                <a:cubicBezTo>
                  <a:pt x="5020774" y="0"/>
                  <a:pt x="7536311" y="2515538"/>
                  <a:pt x="7536311" y="5618611"/>
                </a:cubicBezTo>
                <a:cubicBezTo>
                  <a:pt x="7536311" y="6006495"/>
                  <a:pt x="7497006" y="6385199"/>
                  <a:pt x="7422161" y="6750957"/>
                </a:cubicBezTo>
                <a:lnTo>
                  <a:pt x="7397456" y="6858000"/>
                </a:lnTo>
                <a:lnTo>
                  <a:pt x="4289723" y="6858000"/>
                </a:lnTo>
                <a:lnTo>
                  <a:pt x="4384726" y="6660787"/>
                </a:lnTo>
                <a:cubicBezTo>
                  <a:pt x="4520211" y="6340463"/>
                  <a:pt x="4595131" y="5988286"/>
                  <a:pt x="4595131" y="5618610"/>
                </a:cubicBezTo>
                <a:cubicBezTo>
                  <a:pt x="4595131" y="4139905"/>
                  <a:pt x="3396404" y="2941178"/>
                  <a:pt x="1917700" y="2941178"/>
                </a:cubicBezTo>
                <a:cubicBezTo>
                  <a:pt x="1178348" y="2941178"/>
                  <a:pt x="508990" y="3240860"/>
                  <a:pt x="24470" y="3725380"/>
                </a:cubicBezTo>
                <a:lnTo>
                  <a:pt x="0" y="3752303"/>
                </a:lnTo>
                <a:lnTo>
                  <a:pt x="0" y="336143"/>
                </a:lnTo>
                <a:lnTo>
                  <a:pt x="246898" y="252602"/>
                </a:lnTo>
                <a:cubicBezTo>
                  <a:pt x="774704" y="88437"/>
                  <a:pt x="1335875" y="0"/>
                  <a:pt x="19177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000"/>
            </a:schemeClr>
          </a:solidFill>
          <a:ln w="190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4098" name="Picture 2" descr="C:\Users\jay\Desktop\澎博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500" y="4777441"/>
            <a:ext cx="1866900" cy="186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>
            <a:extLst>
              <a:ext uri="{FF2B5EF4-FFF2-40B4-BE49-F238E27FC236}">
                <a16:creationId xmlns:a16="http://schemas.microsoft.com/office/drawing/2014/main" xmlns="" id="{4DAA5263-6EB2-47A2-9866-7FA23F1C0DDB}"/>
              </a:ext>
            </a:extLst>
          </p:cNvPr>
          <p:cNvSpPr/>
          <p:nvPr userDrawn="1"/>
        </p:nvSpPr>
        <p:spPr>
          <a:xfrm>
            <a:off x="0" y="0"/>
            <a:ext cx="7536311" cy="6858000"/>
          </a:xfrm>
          <a:custGeom>
            <a:avLst/>
            <a:gdLst>
              <a:gd name="connsiteX0" fmla="*/ 1917701 w 7536311"/>
              <a:gd name="connsiteY0" fmla="*/ 0 h 6858000"/>
              <a:gd name="connsiteX1" fmla="*/ 7536311 w 7536311"/>
              <a:gd name="connsiteY1" fmla="*/ 5618611 h 6858000"/>
              <a:gd name="connsiteX2" fmla="*/ 7422161 w 7536311"/>
              <a:gd name="connsiteY2" fmla="*/ 6750957 h 6858000"/>
              <a:gd name="connsiteX3" fmla="*/ 7397456 w 7536311"/>
              <a:gd name="connsiteY3" fmla="*/ 6858000 h 6858000"/>
              <a:gd name="connsiteX4" fmla="*/ 4289723 w 7536311"/>
              <a:gd name="connsiteY4" fmla="*/ 6858000 h 6858000"/>
              <a:gd name="connsiteX5" fmla="*/ 4384726 w 7536311"/>
              <a:gd name="connsiteY5" fmla="*/ 6660787 h 6858000"/>
              <a:gd name="connsiteX6" fmla="*/ 4595131 w 7536311"/>
              <a:gd name="connsiteY6" fmla="*/ 5618610 h 6858000"/>
              <a:gd name="connsiteX7" fmla="*/ 1917700 w 7536311"/>
              <a:gd name="connsiteY7" fmla="*/ 2941178 h 6858000"/>
              <a:gd name="connsiteX8" fmla="*/ 24470 w 7536311"/>
              <a:gd name="connsiteY8" fmla="*/ 3725380 h 6858000"/>
              <a:gd name="connsiteX9" fmla="*/ 0 w 7536311"/>
              <a:gd name="connsiteY9" fmla="*/ 3752303 h 6858000"/>
              <a:gd name="connsiteX10" fmla="*/ 0 w 7536311"/>
              <a:gd name="connsiteY10" fmla="*/ 336143 h 6858000"/>
              <a:gd name="connsiteX11" fmla="*/ 246898 w 7536311"/>
              <a:gd name="connsiteY11" fmla="*/ 252602 h 6858000"/>
              <a:gd name="connsiteX12" fmla="*/ 1917701 w 7536311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36311" h="6858000">
                <a:moveTo>
                  <a:pt x="1917701" y="0"/>
                </a:moveTo>
                <a:cubicBezTo>
                  <a:pt x="5020774" y="0"/>
                  <a:pt x="7536311" y="2515538"/>
                  <a:pt x="7536311" y="5618611"/>
                </a:cubicBezTo>
                <a:cubicBezTo>
                  <a:pt x="7536311" y="6006495"/>
                  <a:pt x="7497006" y="6385199"/>
                  <a:pt x="7422161" y="6750957"/>
                </a:cubicBezTo>
                <a:lnTo>
                  <a:pt x="7397456" y="6858000"/>
                </a:lnTo>
                <a:lnTo>
                  <a:pt x="4289723" y="6858000"/>
                </a:lnTo>
                <a:lnTo>
                  <a:pt x="4384726" y="6660787"/>
                </a:lnTo>
                <a:cubicBezTo>
                  <a:pt x="4520211" y="6340463"/>
                  <a:pt x="4595131" y="5988286"/>
                  <a:pt x="4595131" y="5618610"/>
                </a:cubicBezTo>
                <a:cubicBezTo>
                  <a:pt x="4595131" y="4139905"/>
                  <a:pt x="3396404" y="2941178"/>
                  <a:pt x="1917700" y="2941178"/>
                </a:cubicBezTo>
                <a:cubicBezTo>
                  <a:pt x="1178348" y="2941178"/>
                  <a:pt x="508990" y="3240860"/>
                  <a:pt x="24470" y="3725380"/>
                </a:cubicBezTo>
                <a:lnTo>
                  <a:pt x="0" y="3752303"/>
                </a:lnTo>
                <a:lnTo>
                  <a:pt x="0" y="336143"/>
                </a:lnTo>
                <a:lnTo>
                  <a:pt x="246898" y="252602"/>
                </a:lnTo>
                <a:cubicBezTo>
                  <a:pt x="774704" y="88437"/>
                  <a:pt x="1335875" y="0"/>
                  <a:pt x="19177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000"/>
            </a:schemeClr>
          </a:solidFill>
          <a:ln w="190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4098" name="Picture 2" descr="C:\Users\jay\Desktop\澎博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500" y="4777441"/>
            <a:ext cx="1866900" cy="186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49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>
            <a:extLst>
              <a:ext uri="{FF2B5EF4-FFF2-40B4-BE49-F238E27FC236}">
                <a16:creationId xmlns:a16="http://schemas.microsoft.com/office/drawing/2014/main" xmlns="" id="{4DAA5263-6EB2-47A2-9866-7FA23F1C0DDB}"/>
              </a:ext>
            </a:extLst>
          </p:cNvPr>
          <p:cNvSpPr/>
          <p:nvPr userDrawn="1"/>
        </p:nvSpPr>
        <p:spPr>
          <a:xfrm>
            <a:off x="0" y="0"/>
            <a:ext cx="7536311" cy="6858000"/>
          </a:xfrm>
          <a:custGeom>
            <a:avLst/>
            <a:gdLst>
              <a:gd name="connsiteX0" fmla="*/ 1917701 w 7536311"/>
              <a:gd name="connsiteY0" fmla="*/ 0 h 6858000"/>
              <a:gd name="connsiteX1" fmla="*/ 7536311 w 7536311"/>
              <a:gd name="connsiteY1" fmla="*/ 5618611 h 6858000"/>
              <a:gd name="connsiteX2" fmla="*/ 7422161 w 7536311"/>
              <a:gd name="connsiteY2" fmla="*/ 6750957 h 6858000"/>
              <a:gd name="connsiteX3" fmla="*/ 7397456 w 7536311"/>
              <a:gd name="connsiteY3" fmla="*/ 6858000 h 6858000"/>
              <a:gd name="connsiteX4" fmla="*/ 4289723 w 7536311"/>
              <a:gd name="connsiteY4" fmla="*/ 6858000 h 6858000"/>
              <a:gd name="connsiteX5" fmla="*/ 4384726 w 7536311"/>
              <a:gd name="connsiteY5" fmla="*/ 6660787 h 6858000"/>
              <a:gd name="connsiteX6" fmla="*/ 4595131 w 7536311"/>
              <a:gd name="connsiteY6" fmla="*/ 5618610 h 6858000"/>
              <a:gd name="connsiteX7" fmla="*/ 1917700 w 7536311"/>
              <a:gd name="connsiteY7" fmla="*/ 2941178 h 6858000"/>
              <a:gd name="connsiteX8" fmla="*/ 24470 w 7536311"/>
              <a:gd name="connsiteY8" fmla="*/ 3725380 h 6858000"/>
              <a:gd name="connsiteX9" fmla="*/ 0 w 7536311"/>
              <a:gd name="connsiteY9" fmla="*/ 3752303 h 6858000"/>
              <a:gd name="connsiteX10" fmla="*/ 0 w 7536311"/>
              <a:gd name="connsiteY10" fmla="*/ 336143 h 6858000"/>
              <a:gd name="connsiteX11" fmla="*/ 246898 w 7536311"/>
              <a:gd name="connsiteY11" fmla="*/ 252602 h 6858000"/>
              <a:gd name="connsiteX12" fmla="*/ 1917701 w 7536311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36311" h="6858000">
                <a:moveTo>
                  <a:pt x="1917701" y="0"/>
                </a:moveTo>
                <a:cubicBezTo>
                  <a:pt x="5020774" y="0"/>
                  <a:pt x="7536311" y="2515538"/>
                  <a:pt x="7536311" y="5618611"/>
                </a:cubicBezTo>
                <a:cubicBezTo>
                  <a:pt x="7536311" y="6006495"/>
                  <a:pt x="7497006" y="6385199"/>
                  <a:pt x="7422161" y="6750957"/>
                </a:cubicBezTo>
                <a:lnTo>
                  <a:pt x="7397456" y="6858000"/>
                </a:lnTo>
                <a:lnTo>
                  <a:pt x="4289723" y="6858000"/>
                </a:lnTo>
                <a:lnTo>
                  <a:pt x="4384726" y="6660787"/>
                </a:lnTo>
                <a:cubicBezTo>
                  <a:pt x="4520211" y="6340463"/>
                  <a:pt x="4595131" y="5988286"/>
                  <a:pt x="4595131" y="5618610"/>
                </a:cubicBezTo>
                <a:cubicBezTo>
                  <a:pt x="4595131" y="4139905"/>
                  <a:pt x="3396404" y="2941178"/>
                  <a:pt x="1917700" y="2941178"/>
                </a:cubicBezTo>
                <a:cubicBezTo>
                  <a:pt x="1178348" y="2941178"/>
                  <a:pt x="508990" y="3240860"/>
                  <a:pt x="24470" y="3725380"/>
                </a:cubicBezTo>
                <a:lnTo>
                  <a:pt x="0" y="3752303"/>
                </a:lnTo>
                <a:lnTo>
                  <a:pt x="0" y="336143"/>
                </a:lnTo>
                <a:lnTo>
                  <a:pt x="246898" y="252602"/>
                </a:lnTo>
                <a:cubicBezTo>
                  <a:pt x="774704" y="88437"/>
                  <a:pt x="1335875" y="0"/>
                  <a:pt x="191770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000"/>
            </a:schemeClr>
          </a:solidFill>
          <a:ln w="190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r>
              <a:rPr lang="en-US" altLang="zh-CN" dirty="0"/>
              <a:t>/15</a:t>
            </a:r>
            <a:endParaRPr lang="zh-CN" altLang="en-US" dirty="0"/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pic>
        <p:nvPicPr>
          <p:cNvPr id="5123" name="Picture 3" descr="C:\Users\jay\Desktop\德索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4724400"/>
            <a:ext cx="1947863" cy="1947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jay\Desktop\德索logo-蓝色半透明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63" y="4487863"/>
            <a:ext cx="2420936" cy="242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893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jay\Desktop\澎博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7950" y="5348941"/>
            <a:ext cx="1866900" cy="186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5247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5" name="Picture 3" descr="C:\Users\jay\Desktop\德索logo-蓝色半透明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5086351"/>
            <a:ext cx="2081212" cy="208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8650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7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5/1/9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76" r:id="rId6"/>
    <p:sldLayoutId id="2147483680" r:id="rId7"/>
    <p:sldLayoutId id="2147483677" r:id="rId8"/>
    <p:sldLayoutId id="2147483681" r:id="rId9"/>
    <p:sldLayoutId id="2147483678" r:id="rId10"/>
    <p:sldLayoutId id="2147483679" r:id="rId11"/>
    <p:sldLayoutId id="2147483661" r:id="rId12"/>
    <p:sldLayoutId id="2147483674" r:id="rId13"/>
    <p:sldLayoutId id="2147483675" r:id="rId14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ṧḷî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ṣľiḍè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îṣḷîḋe" hidden="1">
                        <a:extLst>
                          <a:ext uri="{FF2B5EF4-FFF2-40B4-BE49-F238E27FC236}">
                            <a16:creationId xmlns:a16="http://schemas.microsoft.com/office/drawing/2014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$ľïďê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şḻídê"/>
          <p:cNvSpPr>
            <a:spLocks noGrp="1"/>
          </p:cNvSpPr>
          <p:nvPr>
            <p:ph type="ctrTitle"/>
          </p:nvPr>
        </p:nvSpPr>
        <p:spPr>
          <a:xfrm>
            <a:off x="777722" y="2064218"/>
            <a:ext cx="10549467" cy="1606323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zh-CN" altLang="en-US" sz="8800" dirty="0" smtClean="0"/>
              <a:t>德索合同管理平台</a:t>
            </a:r>
            <a:endParaRPr lang="zh-CN" altLang="en-US" sz="8800" dirty="0"/>
          </a:p>
        </p:txBody>
      </p:sp>
      <p:grpSp>
        <p:nvGrpSpPr>
          <p:cNvPr id="17" name="íSḷïḓè">
            <a:extLst>
              <a:ext uri="{FF2B5EF4-FFF2-40B4-BE49-F238E27FC236}">
                <a16:creationId xmlns:a16="http://schemas.microsoft.com/office/drawing/2014/main" xmlns="" id="{559DE9F0-9610-46C8-A3D6-920300CCF990}"/>
              </a:ext>
            </a:extLst>
          </p:cNvPr>
          <p:cNvGrpSpPr/>
          <p:nvPr/>
        </p:nvGrpSpPr>
        <p:grpSpPr>
          <a:xfrm>
            <a:off x="2013857" y="3990620"/>
            <a:ext cx="8077200" cy="381841"/>
            <a:chOff x="2857500" y="1562554"/>
            <a:chExt cx="6477000" cy="381841"/>
          </a:xfrm>
        </p:grpSpPr>
        <p:sp>
          <p:nvSpPr>
            <p:cNvPr id="13" name="íṩlïdè">
              <a:extLst>
                <a:ext uri="{FF2B5EF4-FFF2-40B4-BE49-F238E27FC236}">
                  <a16:creationId xmlns:a16="http://schemas.microsoft.com/office/drawing/2014/main" xmlns="" id="{475E5609-F73E-476E-AA9D-BF93E2D9F5B3}"/>
                </a:ext>
              </a:extLst>
            </p:cNvPr>
            <p:cNvSpPr txBox="1">
              <a:spLocks/>
            </p:cNvSpPr>
            <p:nvPr/>
          </p:nvSpPr>
          <p:spPr>
            <a:xfrm>
              <a:off x="3704063" y="1619363"/>
              <a:ext cx="4783873" cy="325032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ctr" defTabSz="914354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178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dist">
                <a:defRPr/>
              </a:pPr>
              <a:r>
                <a:rPr lang="zh-CN" altLang="en-US" dirty="0"/>
                <a:t>澎博产品生态</a:t>
              </a:r>
              <a:endParaRPr lang="en-US" altLang="zh-CN" dirty="0"/>
            </a:p>
          </p:txBody>
        </p:sp>
        <p:cxnSp>
          <p:nvCxnSpPr>
            <p:cNvPr id="15" name="íṡļîḋé">
              <a:extLst>
                <a:ext uri="{FF2B5EF4-FFF2-40B4-BE49-F238E27FC236}">
                  <a16:creationId xmlns:a16="http://schemas.microsoft.com/office/drawing/2014/main" xmlns="" id="{D5C8AEF3-786C-46CA-A800-5DA1A06942FA}"/>
                </a:ext>
              </a:extLst>
            </p:cNvPr>
            <p:cNvCxnSpPr>
              <a:cxnSpLocks/>
            </p:cNvCxnSpPr>
            <p:nvPr/>
          </p:nvCxnSpPr>
          <p:spPr>
            <a:xfrm>
              <a:off x="2857500" y="1562554"/>
              <a:ext cx="6477000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200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42" descr="C:\Users\jay\Documents\Tencent Files\1139131015\FileRecv\澎博logo-白 (1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" y="251158"/>
            <a:ext cx="1196340" cy="33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3" descr="C:\Users\jay\Documents\Tencent Files\1139131015\FileRecv\德索logo-白色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710" y="234860"/>
            <a:ext cx="1266189" cy="367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xmlns:p14="http://schemas.microsoft.com/office/powerpoint/2010/main" xmlns="" id="{B63EC264-2D14-89A6-B22A-33B397490417}"/>
              </a:ext>
            </a:extLst>
          </p:cNvPr>
          <p:cNvSpPr/>
          <p:nvPr/>
        </p:nvSpPr>
        <p:spPr>
          <a:xfrm>
            <a:off x="2762" y="0"/>
            <a:ext cx="12192000" cy="1993490"/>
          </a:xfrm>
          <a:prstGeom prst="rect">
            <a:avLst/>
          </a:prstGeom>
          <a:blipFill>
            <a:blip r:embed="rId3"/>
            <a:srcRect/>
            <a:stretch>
              <a:fillRect t="-140864" b="-83234"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圆角矩形 8"/>
          <p:cNvSpPr/>
          <p:nvPr/>
        </p:nvSpPr>
        <p:spPr>
          <a:xfrm>
            <a:off x="466928" y="1650281"/>
            <a:ext cx="11342451" cy="4565693"/>
          </a:xfrm>
          <a:prstGeom prst="roundRect">
            <a:avLst>
              <a:gd name="adj" fmla="val 8717"/>
            </a:avLst>
          </a:prstGeom>
          <a:ln>
            <a:noFill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xmlns:p14="http://schemas.microsoft.com/office/powerpoint/2010/main" xmlns="" id="{7BB004BE-D8A9-4CE8-4A01-BDE37BE779B7}"/>
              </a:ext>
            </a:extLst>
          </p:cNvPr>
          <p:cNvGrpSpPr/>
          <p:nvPr/>
        </p:nvGrpSpPr>
        <p:grpSpPr>
          <a:xfrm>
            <a:off x="660400" y="3206391"/>
            <a:ext cx="10858500" cy="2715724"/>
            <a:chOff x="660400" y="3206391"/>
            <a:chExt cx="10858500" cy="2715724"/>
          </a:xfrm>
        </p:grpSpPr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8191F20A-6B36-8038-3EEB-117CF855A4C4}"/>
                </a:ext>
              </a:extLst>
            </p:cNvPr>
            <p:cNvGrpSpPr/>
            <p:nvPr/>
          </p:nvGrpSpPr>
          <p:grpSpPr>
            <a:xfrm>
              <a:off x="660400" y="3206391"/>
              <a:ext cx="3513728" cy="2715723"/>
              <a:chOff x="478020" y="4255443"/>
              <a:chExt cx="2123827" cy="1666671"/>
            </a:xfrm>
          </p:grpSpPr>
          <p:sp>
            <p:nvSpPr>
              <p:cNvPr id="86" name="矩形: 圆顶角 1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2AEE153E-08AF-A903-F633-ACC5F3A41612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478020" y="4371165"/>
                <a:ext cx="2123827" cy="1550949"/>
              </a:xfrm>
              <a:prstGeom prst="roundRect">
                <a:avLst>
                  <a:gd name="adj" fmla="val 0"/>
                </a:avLst>
              </a:prstGeom>
              <a:solidFill>
                <a:schemeClr val="bg2"/>
              </a:solidFill>
              <a:ln w="12700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4000"/>
                      </a:schemeClr>
                    </a:gs>
                  </a:gsLst>
                  <a:lin ang="16200000" scaled="1"/>
                  <a:tileRect/>
                </a:gradFill>
              </a:ln>
              <a:effectLst>
                <a:outerShdw blurRad="533400" dist="50800" dir="540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 dirty="0"/>
              </a:p>
            </p:txBody>
          </p:sp>
          <p:sp>
            <p:nvSpPr>
              <p:cNvPr id="87" name="Bullet2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F5DD0C97-B691-DD5B-5263-18BB0196BD6E}"/>
                  </a:ext>
                </a:extLst>
              </p:cNvPr>
              <p:cNvSpPr txBox="1"/>
              <p:nvPr/>
            </p:nvSpPr>
            <p:spPr>
              <a:xfrm>
                <a:off x="580411" y="4255443"/>
                <a:ext cx="1919073" cy="10169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algn="ctr" defTabSz="913765">
                  <a:buSzPct val="25000"/>
                  <a:defRPr/>
                </a:pPr>
                <a:r>
                  <a:rPr lang="zh-CN" altLang="en-US" sz="20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规范业务</a:t>
                </a:r>
                <a:r>
                  <a:rPr lang="zh-CN" alt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流程的重要环节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" name="Number2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3D6CDB0E-8760-05C7-929E-7DCFC0A4FE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4297" y="5511856"/>
                <a:ext cx="1571274" cy="269068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75000">
                    <a:schemeClr val="accent1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77500" lnSpcReduction="20000"/>
              </a:bodyPr>
              <a:lstStyle/>
              <a:p>
                <a:pPr algn="ctr"/>
                <a:r>
                  <a:rPr lang="en-US" altLang="zh-CN" sz="3600" b="1" dirty="0">
                    <a:solidFill>
                      <a:srgbClr val="FFFFFF"/>
                    </a:solidFill>
                    <a:cs typeface="+mn-ea"/>
                    <a:sym typeface="Arial" panose="020B0604020202020204" pitchFamily="34" charset="0"/>
                  </a:rPr>
                  <a:t>01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F368622-16CC-1C67-90D2-AB1D8BC656B0}"/>
                </a:ext>
              </a:extLst>
            </p:cNvPr>
            <p:cNvGrpSpPr/>
            <p:nvPr/>
          </p:nvGrpSpPr>
          <p:grpSpPr>
            <a:xfrm>
              <a:off x="4332796" y="3207763"/>
              <a:ext cx="3513728" cy="2714347"/>
              <a:chOff x="3046077" y="4483997"/>
              <a:chExt cx="2123827" cy="1665827"/>
            </a:xfrm>
          </p:grpSpPr>
          <p:sp>
            <p:nvSpPr>
              <p:cNvPr id="80" name="矩形: 圆顶角 1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2B4E9E79-4E2A-1568-A38F-4243BFB04A81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3046077" y="4598876"/>
                <a:ext cx="2123827" cy="1550948"/>
              </a:xfrm>
              <a:prstGeom prst="roundRect">
                <a:avLst>
                  <a:gd name="adj" fmla="val 0"/>
                </a:avLst>
              </a:prstGeom>
              <a:solidFill>
                <a:schemeClr val="bg2"/>
              </a:solidFill>
              <a:ln w="12700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4000"/>
                      </a:schemeClr>
                    </a:gs>
                  </a:gsLst>
                  <a:lin ang="16200000" scaled="1"/>
                  <a:tileRect/>
                </a:gradFill>
              </a:ln>
              <a:effectLst>
                <a:outerShdw blurRad="533400" dist="50800" dir="540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 dirty="0"/>
              </a:p>
            </p:txBody>
          </p:sp>
          <p:sp>
            <p:nvSpPr>
              <p:cNvPr id="81" name="Bullet3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8324C327-2DCE-33CC-1D3B-2DB401FA8D8C}"/>
                  </a:ext>
                </a:extLst>
              </p:cNvPr>
              <p:cNvSpPr txBox="1"/>
              <p:nvPr/>
            </p:nvSpPr>
            <p:spPr>
              <a:xfrm>
                <a:off x="3148440" y="4483997"/>
                <a:ext cx="1919073" cy="10169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algn="ctr" defTabSz="913765">
                  <a:buSzPct val="25000"/>
                  <a:defRPr/>
                </a:pPr>
                <a:r>
                  <a:rPr lang="zh-CN" alt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明确合同流转的操作规范</a:t>
                </a:r>
              </a:p>
            </p:txBody>
          </p:sp>
          <p:sp>
            <p:nvSpPr>
              <p:cNvPr id="11" name="Number3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3D6CDB0E-8760-05C7-929E-7DCFC0A4FE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7855" y="5739568"/>
                <a:ext cx="1571274" cy="26906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75000">
                    <a:schemeClr val="accent2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2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77500" lnSpcReduction="20000"/>
              </a:bodyPr>
              <a:lstStyle/>
              <a:p>
                <a:pPr algn="ctr"/>
                <a:r>
                  <a:rPr lang="en-US" altLang="zh-CN" sz="3600" b="1" dirty="0">
                    <a:solidFill>
                      <a:srgbClr val="FFFFFF"/>
                    </a:solidFill>
                    <a:cs typeface="+mn-ea"/>
                    <a:sym typeface="Arial" panose="020B0604020202020204" pitchFamily="34" charset="0"/>
                  </a:rPr>
                  <a:t>02</a:t>
                </a: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B75C8F69-92C1-9734-D0F4-403F1763EE56}"/>
                </a:ext>
              </a:extLst>
            </p:cNvPr>
            <p:cNvGrpSpPr/>
            <p:nvPr/>
          </p:nvGrpSpPr>
          <p:grpSpPr>
            <a:xfrm>
              <a:off x="8005172" y="3206392"/>
              <a:ext cx="3513728" cy="2715723"/>
              <a:chOff x="5227435" y="4483154"/>
              <a:chExt cx="2123827" cy="1666671"/>
            </a:xfrm>
          </p:grpSpPr>
          <p:sp>
            <p:nvSpPr>
              <p:cNvPr id="74" name="矩形: 圆顶角 1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FB2DE7D4-59EB-B02A-2A42-0AB4A309578E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5227435" y="4598875"/>
                <a:ext cx="2123827" cy="1550950"/>
              </a:xfrm>
              <a:prstGeom prst="roundRect">
                <a:avLst>
                  <a:gd name="adj" fmla="val 0"/>
                </a:avLst>
              </a:prstGeom>
              <a:solidFill>
                <a:schemeClr val="bg2"/>
              </a:solidFill>
              <a:ln w="12700">
                <a:gradFill flip="none" rotWithShape="1">
                  <a:gsLst>
                    <a:gs pos="0">
                      <a:schemeClr val="accent1">
                        <a:alpha val="0"/>
                      </a:schemeClr>
                    </a:gs>
                    <a:gs pos="100000">
                      <a:schemeClr val="accent1">
                        <a:alpha val="24000"/>
                      </a:schemeClr>
                    </a:gs>
                  </a:gsLst>
                  <a:lin ang="16200000" scaled="1"/>
                  <a:tileRect/>
                </a:gradFill>
              </a:ln>
              <a:effectLst>
                <a:outerShdw blurRad="533400" dist="50800" dir="540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 dirty="0"/>
              </a:p>
            </p:txBody>
          </p:sp>
          <p:sp>
            <p:nvSpPr>
              <p:cNvPr id="75" name="Bullet4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833EC6FE-DB0D-0FAB-A45A-CFDE6DCF3C02}"/>
                  </a:ext>
                </a:extLst>
              </p:cNvPr>
              <p:cNvSpPr txBox="1"/>
              <p:nvPr/>
            </p:nvSpPr>
            <p:spPr>
              <a:xfrm>
                <a:off x="5329812" y="4483154"/>
                <a:ext cx="1919073" cy="10169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algn="ctr" defTabSz="913765">
                  <a:buSzPct val="25000"/>
                  <a:defRPr/>
                </a:pPr>
                <a:r>
                  <a:rPr lang="zh-CN" alt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健全内控制度的风险要素</a:t>
                </a:r>
                <a:endParaRPr kumimoji="0" lang="de-DE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Number4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3D6CDB0E-8760-05C7-929E-7DCFC0A4FE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03712" y="5739568"/>
                <a:ext cx="1571274" cy="26906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3">
                      <a:lumMod val="60000"/>
                      <a:lumOff val="40000"/>
                    </a:schemeClr>
                  </a:gs>
                  <a:gs pos="75000">
                    <a:schemeClr val="accent3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3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77500" lnSpcReduction="20000"/>
              </a:bodyPr>
              <a:lstStyle/>
              <a:p>
                <a:pPr algn="ctr"/>
                <a:r>
                  <a:rPr lang="en-US" altLang="zh-CN" sz="3600" b="1" dirty="0">
                    <a:solidFill>
                      <a:srgbClr val="FFFFFF"/>
                    </a:solidFill>
                    <a:cs typeface="+mn-ea"/>
                    <a:sym typeface="Arial" panose="020B0604020202020204" pitchFamily="34" charset="0"/>
                  </a:rPr>
                  <a:t>03</a:t>
                </a:r>
              </a:p>
            </p:txBody>
          </p:sp>
        </p:grpSp>
      </p:grpSp>
      <p:sp>
        <p:nvSpPr>
          <p:cNvPr id="5" name="Title">
            <a:extLst>
              <a:ext uri="{FF2B5EF4-FFF2-40B4-BE49-F238E27FC236}">
                <a16:creationId xmlns:a16="http://schemas.microsoft.com/office/drawing/2014/main" xmlns:p14="http://schemas.microsoft.com/office/powerpoint/2010/main" xmlns="" id="{155160BB-2BF1-2DE3-4994-6D62136F4753}"/>
              </a:ext>
            </a:extLst>
          </p:cNvPr>
          <p:cNvSpPr>
            <a:spLocks noChangeAspect="1"/>
          </p:cNvSpPr>
          <p:nvPr/>
        </p:nvSpPr>
        <p:spPr>
          <a:xfrm>
            <a:off x="669512" y="1650283"/>
            <a:ext cx="10858500" cy="14508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noAutofit/>
          </a:bodyPr>
          <a:lstStyle/>
          <a:p>
            <a:pPr algn="ctr">
              <a:lnSpc>
                <a:spcPct val="170000"/>
              </a:lnSpc>
              <a:buSzPct val="25000"/>
            </a:pPr>
            <a:r>
              <a:rPr lang="zh-CN" altLang="en-US" sz="36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德索合同管理平台</a:t>
            </a:r>
            <a:endParaRPr lang="en-US" altLang="zh-CN" sz="3600" b="1" dirty="0" smtClean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  <a:p>
            <a:pPr algn="ctr">
              <a:lnSpc>
                <a:spcPct val="170000"/>
              </a:lnSpc>
              <a:buSzPct val="25000"/>
            </a:pPr>
            <a:r>
              <a:rPr lang="zh-CN" altLang="en-US" sz="28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助力期货公司</a:t>
            </a:r>
            <a:endParaRPr lang="en-US" altLang="zh-CN" sz="2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4919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420099" y="61261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xmlns="" id="{FEE52B56-4C8A-55F7-0D73-1555A0207524}"/>
              </a:ext>
            </a:extLst>
          </p:cNvPr>
          <p:cNvSpPr txBox="1">
            <a:spLocks/>
          </p:cNvSpPr>
          <p:nvPr/>
        </p:nvSpPr>
        <p:spPr>
          <a:xfrm>
            <a:off x="587375" y="574154"/>
            <a:ext cx="10850563" cy="102869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0831A2"/>
                </a:solidFill>
                <a:latin typeface="+mn-ea"/>
              </a:rPr>
              <a:t>▌ </a:t>
            </a:r>
            <a:r>
              <a:rPr lang="zh-CN" altLang="en-US" dirty="0" smtClean="0">
                <a:latin typeface="+mn-ea"/>
                <a:sym typeface="+mn-ea"/>
              </a:rPr>
              <a:t>合同管理平台特点</a:t>
            </a:r>
            <a:endParaRPr lang="zh-CN" altLang="en-US" dirty="0"/>
          </a:p>
        </p:txBody>
      </p:sp>
      <p:grpSp>
        <p:nvGrpSpPr>
          <p:cNvPr id="6" name="组合 5"/>
          <p:cNvGrpSpPr/>
          <p:nvPr/>
        </p:nvGrpSpPr>
        <p:grpSpPr>
          <a:xfrm>
            <a:off x="515040" y="1437758"/>
            <a:ext cx="5301230" cy="1389068"/>
            <a:chOff x="666750" y="2518412"/>
            <a:chExt cx="5301230" cy="1389068"/>
          </a:xfrm>
        </p:grpSpPr>
        <p:sp>
          <p:nvSpPr>
            <p:cNvPr id="7" name="矩形: 圆角 4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D3CA57B-002D-F28D-DFC8-73B6E8ABB8D0}"/>
                </a:ext>
              </a:extLst>
            </p:cNvPr>
            <p:cNvSpPr/>
            <p:nvPr/>
          </p:nvSpPr>
          <p:spPr>
            <a:xfrm>
              <a:off x="666750" y="3255049"/>
              <a:ext cx="850600" cy="61922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46F71D7-2160-69E3-EB19-4E9E89E86D0F}"/>
                </a:ext>
              </a:extLst>
            </p:cNvPr>
            <p:cNvGrpSpPr/>
            <p:nvPr/>
          </p:nvGrpSpPr>
          <p:grpSpPr>
            <a:xfrm>
              <a:off x="666751" y="2518412"/>
              <a:ext cx="5301229" cy="1389068"/>
              <a:chOff x="666751" y="2518412"/>
              <a:chExt cx="5301229" cy="1389068"/>
            </a:xfrm>
          </p:grpSpPr>
          <p:sp>
            <p:nvSpPr>
              <p:cNvPr id="9" name="ComponentBackground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FB513EB9-A7A6-C8D0-7C5D-5D0340A4438F}"/>
                  </a:ext>
                </a:extLst>
              </p:cNvPr>
              <p:cNvSpPr/>
              <p:nvPr/>
            </p:nvSpPr>
            <p:spPr>
              <a:xfrm>
                <a:off x="814805" y="2518412"/>
                <a:ext cx="5127888" cy="1389068"/>
              </a:xfrm>
              <a:prstGeom prst="roundRect">
                <a:avLst>
                  <a:gd name="adj" fmla="val 10672"/>
                </a:avLst>
              </a:prstGeom>
              <a:gradFill flip="none" rotWithShape="1">
                <a:gsLst>
                  <a:gs pos="0">
                    <a:schemeClr val="bg1"/>
                  </a:gs>
                  <a:gs pos="97000">
                    <a:schemeClr val="accent1">
                      <a:lumMod val="20000"/>
                      <a:lumOff val="8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solidFill>
                  <a:schemeClr val="accent1">
                    <a:alpha val="50000"/>
                  </a:schemeClr>
                </a:solidFill>
              </a:ln>
              <a:effectLst>
                <a:outerShdw blurRad="203200" dist="152400" dir="1926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10" name="Bullet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21DD0CDD-F0C2-96EE-ED31-DD4AD55E41F1}"/>
                  </a:ext>
                </a:extLst>
              </p:cNvPr>
              <p:cNvSpPr txBox="1"/>
              <p:nvPr/>
            </p:nvSpPr>
            <p:spPr>
              <a:xfrm>
                <a:off x="1973642" y="2589541"/>
                <a:ext cx="3994338" cy="11126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fontScale="92500"/>
              </a:bodyPr>
              <a:lstStyle/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分步跟踪</a:t>
                </a:r>
                <a:r>
                  <a:rPr lang="zh-CN" altLang="en-US" sz="2400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合同状态</a:t>
                </a:r>
                <a:r>
                  <a:rPr lang="zh-CN" altLang="en-US" sz="2400" dirty="0" smtClean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，</a:t>
                </a:r>
                <a:endParaRPr lang="en-US" altLang="zh-CN" sz="2400" dirty="0" smtClean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把</a:t>
                </a:r>
                <a:r>
                  <a:rPr lang="zh-CN" altLang="en-US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控合同流转过程管理</a:t>
                </a:r>
              </a:p>
            </p:txBody>
          </p:sp>
          <p:sp>
            <p:nvSpPr>
              <p:cNvPr id="11" name="Number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CA459C33-E0B0-09BD-8361-7B7D1ECAA463}"/>
                  </a:ext>
                </a:extLst>
              </p:cNvPr>
              <p:cNvSpPr/>
              <p:nvPr/>
            </p:nvSpPr>
            <p:spPr>
              <a:xfrm>
                <a:off x="666751" y="2660671"/>
                <a:ext cx="1158837" cy="970432"/>
              </a:xfrm>
              <a:custGeom>
                <a:avLst/>
                <a:gdLst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0 w 1085693"/>
                  <a:gd name="connsiteY11" fmla="*/ 256524 h 714569"/>
                  <a:gd name="connsiteX12" fmla="*/ 20159 w 1085693"/>
                  <a:gd name="connsiteY12" fmla="*/ 156674 h 714569"/>
                  <a:gd name="connsiteX13" fmla="*/ 256525 w 1085693"/>
                  <a:gd name="connsiteY13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20159 w 1085693"/>
                  <a:gd name="connsiteY11" fmla="*/ 156674 h 714569"/>
                  <a:gd name="connsiteX12" fmla="*/ 256525 w 1085693"/>
                  <a:gd name="connsiteY12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4762 w 1085693"/>
                  <a:gd name="connsiteY9" fmla="*/ 282719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5693" h="714569">
                    <a:moveTo>
                      <a:pt x="256525" y="0"/>
                    </a:moveTo>
                    <a:lnTo>
                      <a:pt x="829168" y="0"/>
                    </a:lnTo>
                    <a:cubicBezTo>
                      <a:pt x="970843" y="0"/>
                      <a:pt x="1085693" y="114850"/>
                      <a:pt x="1085693" y="256525"/>
                    </a:cubicBezTo>
                    <a:lnTo>
                      <a:pt x="1085692" y="256525"/>
                    </a:lnTo>
                    <a:cubicBezTo>
                      <a:pt x="1085692" y="398200"/>
                      <a:pt x="970842" y="513050"/>
                      <a:pt x="829167" y="513050"/>
                    </a:cubicBezTo>
                    <a:lnTo>
                      <a:pt x="256525" y="513049"/>
                    </a:lnTo>
                    <a:lnTo>
                      <a:pt x="250287" y="513049"/>
                    </a:lnTo>
                    <a:cubicBezTo>
                      <a:pt x="144031" y="513049"/>
                      <a:pt x="52864" y="577652"/>
                      <a:pt x="13921" y="669723"/>
                    </a:cubicBezTo>
                    <a:lnTo>
                      <a:pt x="0" y="714569"/>
                    </a:lnTo>
                    <a:cubicBezTo>
                      <a:pt x="1587" y="570619"/>
                      <a:pt x="3175" y="426669"/>
                      <a:pt x="4762" y="282719"/>
                    </a:cubicBezTo>
                    <a:cubicBezTo>
                      <a:pt x="11482" y="249435"/>
                      <a:pt x="-3230" y="218533"/>
                      <a:pt x="20159" y="156674"/>
                    </a:cubicBezTo>
                    <a:cubicBezTo>
                      <a:pt x="59102" y="64603"/>
                      <a:pt x="150269" y="0"/>
                      <a:pt x="25652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75000">
                    <a:schemeClr val="accent1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324000" rtlCol="0" anchor="ctr">
                <a:normAutofit/>
              </a:bodyPr>
              <a:lstStyle/>
              <a:p>
                <a:pPr algn="ctr"/>
                <a:r>
                  <a:rPr lang="en-US" altLang="zh-CN" sz="3200" b="1" dirty="0">
                    <a:solidFill>
                      <a:srgbClr val="FFFFFF"/>
                    </a:solidFill>
                    <a:cs typeface="+mn-ea"/>
                  </a:rPr>
                  <a:t>01</a:t>
                </a:r>
                <a:endParaRPr lang="zh-CN" altLang="en-US" sz="3200" b="1" dirty="0">
                  <a:solidFill>
                    <a:srgbClr val="FFFFFF"/>
                  </a:solidFill>
                  <a:cs typeface="+mn-ea"/>
                </a:endParaRPr>
              </a:p>
            </p:txBody>
          </p:sp>
        </p:grpSp>
      </p:grpSp>
      <p:grpSp>
        <p:nvGrpSpPr>
          <p:cNvPr id="12" name="组合 11"/>
          <p:cNvGrpSpPr/>
          <p:nvPr/>
        </p:nvGrpSpPr>
        <p:grpSpPr>
          <a:xfrm>
            <a:off x="6136708" y="1437758"/>
            <a:ext cx="5301230" cy="1389068"/>
            <a:chOff x="666750" y="2518412"/>
            <a:chExt cx="5301230" cy="1389068"/>
          </a:xfrm>
        </p:grpSpPr>
        <p:sp>
          <p:nvSpPr>
            <p:cNvPr id="13" name="矩形: 圆角 4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D3CA57B-002D-F28D-DFC8-73B6E8ABB8D0}"/>
                </a:ext>
              </a:extLst>
            </p:cNvPr>
            <p:cNvSpPr/>
            <p:nvPr/>
          </p:nvSpPr>
          <p:spPr>
            <a:xfrm>
              <a:off x="666750" y="3255049"/>
              <a:ext cx="850600" cy="61922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46F71D7-2160-69E3-EB19-4E9E89E86D0F}"/>
                </a:ext>
              </a:extLst>
            </p:cNvPr>
            <p:cNvGrpSpPr/>
            <p:nvPr/>
          </p:nvGrpSpPr>
          <p:grpSpPr>
            <a:xfrm>
              <a:off x="666751" y="2518412"/>
              <a:ext cx="5301229" cy="1389068"/>
              <a:chOff x="666751" y="2518412"/>
              <a:chExt cx="5301229" cy="1389068"/>
            </a:xfrm>
          </p:grpSpPr>
          <p:sp>
            <p:nvSpPr>
              <p:cNvPr id="15" name="ComponentBackground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FB513EB9-A7A6-C8D0-7C5D-5D0340A4438F}"/>
                  </a:ext>
                </a:extLst>
              </p:cNvPr>
              <p:cNvSpPr/>
              <p:nvPr/>
            </p:nvSpPr>
            <p:spPr>
              <a:xfrm>
                <a:off x="814805" y="2518412"/>
                <a:ext cx="5127888" cy="1389068"/>
              </a:xfrm>
              <a:prstGeom prst="roundRect">
                <a:avLst>
                  <a:gd name="adj" fmla="val 10672"/>
                </a:avLst>
              </a:prstGeom>
              <a:gradFill flip="none" rotWithShape="1">
                <a:gsLst>
                  <a:gs pos="0">
                    <a:schemeClr val="bg1"/>
                  </a:gs>
                  <a:gs pos="97000">
                    <a:schemeClr val="accent1">
                      <a:lumMod val="20000"/>
                      <a:lumOff val="8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solidFill>
                  <a:schemeClr val="accent1">
                    <a:alpha val="50000"/>
                  </a:schemeClr>
                </a:solidFill>
              </a:ln>
              <a:effectLst>
                <a:outerShdw blurRad="203200" dist="152400" dir="1926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16" name="Bullet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21DD0CDD-F0C2-96EE-ED31-DD4AD55E41F1}"/>
                  </a:ext>
                </a:extLst>
              </p:cNvPr>
              <p:cNvSpPr txBox="1"/>
              <p:nvPr/>
            </p:nvSpPr>
            <p:spPr>
              <a:xfrm>
                <a:off x="1973642" y="2589541"/>
                <a:ext cx="3994338" cy="11126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fontScale="92500"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细化数据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权限控制</a:t>
                </a:r>
                <a:r>
                  <a:rPr lang="zh-CN" altLang="en-US" sz="2400" dirty="0" smtClean="0">
                    <a:solidFill>
                      <a:schemeClr val="accent1"/>
                    </a:solidFill>
                  </a:rPr>
                  <a:t>，</a:t>
                </a:r>
                <a:endParaRPr lang="en-US" altLang="zh-CN" sz="2400" dirty="0" smtClean="0">
                  <a:solidFill>
                    <a:schemeClr val="accent1"/>
                  </a:solidFill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2400" dirty="0" smtClean="0"/>
                  <a:t>设定</a:t>
                </a:r>
                <a:r>
                  <a:rPr lang="zh-CN" altLang="en-US" sz="2400" dirty="0"/>
                  <a:t>分部门分员工权限</a:t>
                </a:r>
                <a:endParaRPr lang="en-US" altLang="zh-CN" sz="2400" dirty="0"/>
              </a:p>
            </p:txBody>
          </p:sp>
          <p:sp>
            <p:nvSpPr>
              <p:cNvPr id="17" name="Number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CA459C33-E0B0-09BD-8361-7B7D1ECAA463}"/>
                  </a:ext>
                </a:extLst>
              </p:cNvPr>
              <p:cNvSpPr/>
              <p:nvPr/>
            </p:nvSpPr>
            <p:spPr>
              <a:xfrm>
                <a:off x="666751" y="2660671"/>
                <a:ext cx="1158837" cy="970432"/>
              </a:xfrm>
              <a:custGeom>
                <a:avLst/>
                <a:gdLst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0 w 1085693"/>
                  <a:gd name="connsiteY11" fmla="*/ 256524 h 714569"/>
                  <a:gd name="connsiteX12" fmla="*/ 20159 w 1085693"/>
                  <a:gd name="connsiteY12" fmla="*/ 156674 h 714569"/>
                  <a:gd name="connsiteX13" fmla="*/ 256525 w 1085693"/>
                  <a:gd name="connsiteY13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20159 w 1085693"/>
                  <a:gd name="connsiteY11" fmla="*/ 156674 h 714569"/>
                  <a:gd name="connsiteX12" fmla="*/ 256525 w 1085693"/>
                  <a:gd name="connsiteY12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4762 w 1085693"/>
                  <a:gd name="connsiteY9" fmla="*/ 282719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5693" h="714569">
                    <a:moveTo>
                      <a:pt x="256525" y="0"/>
                    </a:moveTo>
                    <a:lnTo>
                      <a:pt x="829168" y="0"/>
                    </a:lnTo>
                    <a:cubicBezTo>
                      <a:pt x="970843" y="0"/>
                      <a:pt x="1085693" y="114850"/>
                      <a:pt x="1085693" y="256525"/>
                    </a:cubicBezTo>
                    <a:lnTo>
                      <a:pt x="1085692" y="256525"/>
                    </a:lnTo>
                    <a:cubicBezTo>
                      <a:pt x="1085692" y="398200"/>
                      <a:pt x="970842" y="513050"/>
                      <a:pt x="829167" y="513050"/>
                    </a:cubicBezTo>
                    <a:lnTo>
                      <a:pt x="256525" y="513049"/>
                    </a:lnTo>
                    <a:lnTo>
                      <a:pt x="250287" y="513049"/>
                    </a:lnTo>
                    <a:cubicBezTo>
                      <a:pt x="144031" y="513049"/>
                      <a:pt x="52864" y="577652"/>
                      <a:pt x="13921" y="669723"/>
                    </a:cubicBezTo>
                    <a:lnTo>
                      <a:pt x="0" y="714569"/>
                    </a:lnTo>
                    <a:cubicBezTo>
                      <a:pt x="1587" y="570619"/>
                      <a:pt x="3175" y="426669"/>
                      <a:pt x="4762" y="282719"/>
                    </a:cubicBezTo>
                    <a:cubicBezTo>
                      <a:pt x="11482" y="249435"/>
                      <a:pt x="-3230" y="218533"/>
                      <a:pt x="20159" y="156674"/>
                    </a:cubicBezTo>
                    <a:cubicBezTo>
                      <a:pt x="59102" y="64603"/>
                      <a:pt x="150269" y="0"/>
                      <a:pt x="25652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75000">
                    <a:schemeClr val="accent1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324000" rtlCol="0" anchor="ctr">
                <a:normAutofit/>
              </a:bodyPr>
              <a:lstStyle/>
              <a:p>
                <a:pPr algn="ctr"/>
                <a:r>
                  <a:rPr lang="en-US" altLang="zh-CN" sz="3200" b="1" dirty="0" smtClean="0">
                    <a:solidFill>
                      <a:srgbClr val="FFFFFF"/>
                    </a:solidFill>
                    <a:cs typeface="+mn-ea"/>
                  </a:rPr>
                  <a:t>02</a:t>
                </a:r>
                <a:endParaRPr lang="zh-CN" altLang="en-US" sz="3200" b="1" dirty="0">
                  <a:solidFill>
                    <a:srgbClr val="FFFFFF"/>
                  </a:solidFill>
                  <a:cs typeface="+mn-ea"/>
                </a:endParaRPr>
              </a:p>
            </p:txBody>
          </p:sp>
        </p:grpSp>
      </p:grpSp>
      <p:grpSp>
        <p:nvGrpSpPr>
          <p:cNvPr id="18" name="组合 17"/>
          <p:cNvGrpSpPr/>
          <p:nvPr/>
        </p:nvGrpSpPr>
        <p:grpSpPr>
          <a:xfrm>
            <a:off x="515040" y="3294267"/>
            <a:ext cx="5301230" cy="1389068"/>
            <a:chOff x="666750" y="2518412"/>
            <a:chExt cx="5301230" cy="1389068"/>
          </a:xfrm>
        </p:grpSpPr>
        <p:sp>
          <p:nvSpPr>
            <p:cNvPr id="19" name="矩形: 圆角 4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D3CA57B-002D-F28D-DFC8-73B6E8ABB8D0}"/>
                </a:ext>
              </a:extLst>
            </p:cNvPr>
            <p:cNvSpPr/>
            <p:nvPr/>
          </p:nvSpPr>
          <p:spPr>
            <a:xfrm>
              <a:off x="666750" y="3255049"/>
              <a:ext cx="850600" cy="61922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0" name="组合 19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46F71D7-2160-69E3-EB19-4E9E89E86D0F}"/>
                </a:ext>
              </a:extLst>
            </p:cNvPr>
            <p:cNvGrpSpPr/>
            <p:nvPr/>
          </p:nvGrpSpPr>
          <p:grpSpPr>
            <a:xfrm>
              <a:off x="666751" y="2518412"/>
              <a:ext cx="5301229" cy="1389068"/>
              <a:chOff x="666751" y="2518412"/>
              <a:chExt cx="5301229" cy="1389068"/>
            </a:xfrm>
          </p:grpSpPr>
          <p:sp>
            <p:nvSpPr>
              <p:cNvPr id="21" name="ComponentBackground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FB513EB9-A7A6-C8D0-7C5D-5D0340A4438F}"/>
                  </a:ext>
                </a:extLst>
              </p:cNvPr>
              <p:cNvSpPr/>
              <p:nvPr/>
            </p:nvSpPr>
            <p:spPr>
              <a:xfrm>
                <a:off x="814805" y="2518412"/>
                <a:ext cx="5127888" cy="1389068"/>
              </a:xfrm>
              <a:prstGeom prst="roundRect">
                <a:avLst>
                  <a:gd name="adj" fmla="val 10672"/>
                </a:avLst>
              </a:prstGeom>
              <a:gradFill flip="none" rotWithShape="1">
                <a:gsLst>
                  <a:gs pos="0">
                    <a:schemeClr val="bg1"/>
                  </a:gs>
                  <a:gs pos="97000">
                    <a:schemeClr val="accent1">
                      <a:lumMod val="20000"/>
                      <a:lumOff val="8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solidFill>
                  <a:schemeClr val="accent1">
                    <a:alpha val="50000"/>
                  </a:schemeClr>
                </a:solidFill>
              </a:ln>
              <a:effectLst>
                <a:outerShdw blurRad="203200" dist="152400" dir="1926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22" name="Bullet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21DD0CDD-F0C2-96EE-ED31-DD4AD55E41F1}"/>
                  </a:ext>
                </a:extLst>
              </p:cNvPr>
              <p:cNvSpPr txBox="1"/>
              <p:nvPr/>
            </p:nvSpPr>
            <p:spPr>
              <a:xfrm>
                <a:off x="1973642" y="2589541"/>
                <a:ext cx="3994338" cy="11126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fontScale="92500"/>
              </a:bodyPr>
              <a:lstStyle/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/>
                  <a:t>灵活联动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业务审批</a:t>
                </a:r>
                <a:r>
                  <a:rPr lang="zh-CN" altLang="en-US" sz="2400" dirty="0" smtClean="0">
                    <a:solidFill>
                      <a:schemeClr val="accent1"/>
                    </a:solidFill>
                  </a:rPr>
                  <a:t>，</a:t>
                </a:r>
                <a:endParaRPr lang="en-US" altLang="zh-CN" sz="2400" dirty="0" smtClean="0">
                  <a:solidFill>
                    <a:schemeClr val="accent1"/>
                  </a:solidFill>
                </a:endParaRPr>
              </a:p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 smtClean="0"/>
                  <a:t>实现</a:t>
                </a:r>
                <a:r>
                  <a:rPr lang="zh-CN" altLang="en-US" sz="2400" dirty="0"/>
                  <a:t>流程发起归档闭环</a:t>
                </a:r>
                <a:endParaRPr lang="zh-CN" altLang="en-US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Number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CA459C33-E0B0-09BD-8361-7B7D1ECAA463}"/>
                  </a:ext>
                </a:extLst>
              </p:cNvPr>
              <p:cNvSpPr/>
              <p:nvPr/>
            </p:nvSpPr>
            <p:spPr>
              <a:xfrm>
                <a:off x="666751" y="2660671"/>
                <a:ext cx="1158837" cy="970432"/>
              </a:xfrm>
              <a:custGeom>
                <a:avLst/>
                <a:gdLst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0 w 1085693"/>
                  <a:gd name="connsiteY11" fmla="*/ 256524 h 714569"/>
                  <a:gd name="connsiteX12" fmla="*/ 20159 w 1085693"/>
                  <a:gd name="connsiteY12" fmla="*/ 156674 h 714569"/>
                  <a:gd name="connsiteX13" fmla="*/ 256525 w 1085693"/>
                  <a:gd name="connsiteY13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20159 w 1085693"/>
                  <a:gd name="connsiteY11" fmla="*/ 156674 h 714569"/>
                  <a:gd name="connsiteX12" fmla="*/ 256525 w 1085693"/>
                  <a:gd name="connsiteY12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4762 w 1085693"/>
                  <a:gd name="connsiteY9" fmla="*/ 282719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5693" h="714569">
                    <a:moveTo>
                      <a:pt x="256525" y="0"/>
                    </a:moveTo>
                    <a:lnTo>
                      <a:pt x="829168" y="0"/>
                    </a:lnTo>
                    <a:cubicBezTo>
                      <a:pt x="970843" y="0"/>
                      <a:pt x="1085693" y="114850"/>
                      <a:pt x="1085693" y="256525"/>
                    </a:cubicBezTo>
                    <a:lnTo>
                      <a:pt x="1085692" y="256525"/>
                    </a:lnTo>
                    <a:cubicBezTo>
                      <a:pt x="1085692" y="398200"/>
                      <a:pt x="970842" y="513050"/>
                      <a:pt x="829167" y="513050"/>
                    </a:cubicBezTo>
                    <a:lnTo>
                      <a:pt x="256525" y="513049"/>
                    </a:lnTo>
                    <a:lnTo>
                      <a:pt x="250287" y="513049"/>
                    </a:lnTo>
                    <a:cubicBezTo>
                      <a:pt x="144031" y="513049"/>
                      <a:pt x="52864" y="577652"/>
                      <a:pt x="13921" y="669723"/>
                    </a:cubicBezTo>
                    <a:lnTo>
                      <a:pt x="0" y="714569"/>
                    </a:lnTo>
                    <a:cubicBezTo>
                      <a:pt x="1587" y="570619"/>
                      <a:pt x="3175" y="426669"/>
                      <a:pt x="4762" y="282719"/>
                    </a:cubicBezTo>
                    <a:cubicBezTo>
                      <a:pt x="11482" y="249435"/>
                      <a:pt x="-3230" y="218533"/>
                      <a:pt x="20159" y="156674"/>
                    </a:cubicBezTo>
                    <a:cubicBezTo>
                      <a:pt x="59102" y="64603"/>
                      <a:pt x="150269" y="0"/>
                      <a:pt x="25652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75000">
                    <a:schemeClr val="accent1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324000" rtlCol="0" anchor="ctr">
                <a:normAutofit/>
              </a:bodyPr>
              <a:lstStyle/>
              <a:p>
                <a:pPr algn="ctr"/>
                <a:r>
                  <a:rPr lang="en-US" altLang="zh-CN" sz="3200" b="1" dirty="0" smtClean="0">
                    <a:solidFill>
                      <a:srgbClr val="FFFFFF"/>
                    </a:solidFill>
                    <a:cs typeface="+mn-ea"/>
                  </a:rPr>
                  <a:t>03</a:t>
                </a:r>
                <a:endParaRPr lang="zh-CN" altLang="en-US" sz="3200" b="1" dirty="0">
                  <a:solidFill>
                    <a:srgbClr val="FFFFFF"/>
                  </a:solidFill>
                  <a:cs typeface="+mn-ea"/>
                </a:endParaRPr>
              </a:p>
            </p:txBody>
          </p:sp>
        </p:grpSp>
      </p:grpSp>
      <p:grpSp>
        <p:nvGrpSpPr>
          <p:cNvPr id="24" name="组合 23"/>
          <p:cNvGrpSpPr/>
          <p:nvPr/>
        </p:nvGrpSpPr>
        <p:grpSpPr>
          <a:xfrm>
            <a:off x="6136708" y="3294267"/>
            <a:ext cx="5301230" cy="1389068"/>
            <a:chOff x="666750" y="2518412"/>
            <a:chExt cx="5301230" cy="1389068"/>
          </a:xfrm>
        </p:grpSpPr>
        <p:sp>
          <p:nvSpPr>
            <p:cNvPr id="25" name="矩形: 圆角 4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D3CA57B-002D-F28D-DFC8-73B6E8ABB8D0}"/>
                </a:ext>
              </a:extLst>
            </p:cNvPr>
            <p:cNvSpPr/>
            <p:nvPr/>
          </p:nvSpPr>
          <p:spPr>
            <a:xfrm>
              <a:off x="666750" y="3255049"/>
              <a:ext cx="850600" cy="61922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" name="组合 25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46F71D7-2160-69E3-EB19-4E9E89E86D0F}"/>
                </a:ext>
              </a:extLst>
            </p:cNvPr>
            <p:cNvGrpSpPr/>
            <p:nvPr/>
          </p:nvGrpSpPr>
          <p:grpSpPr>
            <a:xfrm>
              <a:off x="666751" y="2518412"/>
              <a:ext cx="5301229" cy="1389068"/>
              <a:chOff x="666751" y="2518412"/>
              <a:chExt cx="5301229" cy="1389068"/>
            </a:xfrm>
          </p:grpSpPr>
          <p:sp>
            <p:nvSpPr>
              <p:cNvPr id="27" name="ComponentBackground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FB513EB9-A7A6-C8D0-7C5D-5D0340A4438F}"/>
                  </a:ext>
                </a:extLst>
              </p:cNvPr>
              <p:cNvSpPr/>
              <p:nvPr/>
            </p:nvSpPr>
            <p:spPr>
              <a:xfrm>
                <a:off x="814805" y="2518412"/>
                <a:ext cx="5127888" cy="1389068"/>
              </a:xfrm>
              <a:prstGeom prst="roundRect">
                <a:avLst>
                  <a:gd name="adj" fmla="val 10672"/>
                </a:avLst>
              </a:prstGeom>
              <a:gradFill flip="none" rotWithShape="1">
                <a:gsLst>
                  <a:gs pos="0">
                    <a:schemeClr val="bg1"/>
                  </a:gs>
                  <a:gs pos="97000">
                    <a:schemeClr val="accent1">
                      <a:lumMod val="20000"/>
                      <a:lumOff val="8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solidFill>
                  <a:schemeClr val="accent1">
                    <a:alpha val="50000"/>
                  </a:schemeClr>
                </a:solidFill>
              </a:ln>
              <a:effectLst>
                <a:outerShdw blurRad="203200" dist="152400" dir="1926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28" name="Bullet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21DD0CDD-F0C2-96EE-ED31-DD4AD55E41F1}"/>
                  </a:ext>
                </a:extLst>
              </p:cNvPr>
              <p:cNvSpPr txBox="1"/>
              <p:nvPr/>
            </p:nvSpPr>
            <p:spPr>
              <a:xfrm>
                <a:off x="1973642" y="2589541"/>
                <a:ext cx="3994338" cy="11126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fontScale="92500"/>
              </a:bodyPr>
              <a:lstStyle/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/>
                  <a:t>优化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邮寄信息</a:t>
                </a:r>
                <a:r>
                  <a:rPr lang="zh-CN" altLang="en-US" sz="2400" dirty="0"/>
                  <a:t>页面控件</a:t>
                </a:r>
                <a:r>
                  <a:rPr lang="zh-CN" altLang="en-US" sz="2400" dirty="0" smtClean="0"/>
                  <a:t>，</a:t>
                </a:r>
                <a:endParaRPr lang="en-US" altLang="zh-CN" sz="2400" dirty="0" smtClean="0"/>
              </a:p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 smtClean="0"/>
                  <a:t>简化</a:t>
                </a:r>
                <a:r>
                  <a:rPr lang="zh-CN" altLang="en-US" sz="2400" dirty="0"/>
                  <a:t>录入信息流程</a:t>
                </a:r>
              </a:p>
            </p:txBody>
          </p:sp>
          <p:sp>
            <p:nvSpPr>
              <p:cNvPr id="29" name="Number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CA459C33-E0B0-09BD-8361-7B7D1ECAA463}"/>
                  </a:ext>
                </a:extLst>
              </p:cNvPr>
              <p:cNvSpPr/>
              <p:nvPr/>
            </p:nvSpPr>
            <p:spPr>
              <a:xfrm>
                <a:off x="666751" y="2660671"/>
                <a:ext cx="1158837" cy="970432"/>
              </a:xfrm>
              <a:custGeom>
                <a:avLst/>
                <a:gdLst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0 w 1085693"/>
                  <a:gd name="connsiteY11" fmla="*/ 256524 h 714569"/>
                  <a:gd name="connsiteX12" fmla="*/ 20159 w 1085693"/>
                  <a:gd name="connsiteY12" fmla="*/ 156674 h 714569"/>
                  <a:gd name="connsiteX13" fmla="*/ 256525 w 1085693"/>
                  <a:gd name="connsiteY13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20159 w 1085693"/>
                  <a:gd name="connsiteY11" fmla="*/ 156674 h 714569"/>
                  <a:gd name="connsiteX12" fmla="*/ 256525 w 1085693"/>
                  <a:gd name="connsiteY12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4762 w 1085693"/>
                  <a:gd name="connsiteY9" fmla="*/ 282719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5693" h="714569">
                    <a:moveTo>
                      <a:pt x="256525" y="0"/>
                    </a:moveTo>
                    <a:lnTo>
                      <a:pt x="829168" y="0"/>
                    </a:lnTo>
                    <a:cubicBezTo>
                      <a:pt x="970843" y="0"/>
                      <a:pt x="1085693" y="114850"/>
                      <a:pt x="1085693" y="256525"/>
                    </a:cubicBezTo>
                    <a:lnTo>
                      <a:pt x="1085692" y="256525"/>
                    </a:lnTo>
                    <a:cubicBezTo>
                      <a:pt x="1085692" y="398200"/>
                      <a:pt x="970842" y="513050"/>
                      <a:pt x="829167" y="513050"/>
                    </a:cubicBezTo>
                    <a:lnTo>
                      <a:pt x="256525" y="513049"/>
                    </a:lnTo>
                    <a:lnTo>
                      <a:pt x="250287" y="513049"/>
                    </a:lnTo>
                    <a:cubicBezTo>
                      <a:pt x="144031" y="513049"/>
                      <a:pt x="52864" y="577652"/>
                      <a:pt x="13921" y="669723"/>
                    </a:cubicBezTo>
                    <a:lnTo>
                      <a:pt x="0" y="714569"/>
                    </a:lnTo>
                    <a:cubicBezTo>
                      <a:pt x="1587" y="570619"/>
                      <a:pt x="3175" y="426669"/>
                      <a:pt x="4762" y="282719"/>
                    </a:cubicBezTo>
                    <a:cubicBezTo>
                      <a:pt x="11482" y="249435"/>
                      <a:pt x="-3230" y="218533"/>
                      <a:pt x="20159" y="156674"/>
                    </a:cubicBezTo>
                    <a:cubicBezTo>
                      <a:pt x="59102" y="64603"/>
                      <a:pt x="150269" y="0"/>
                      <a:pt x="25652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75000">
                    <a:schemeClr val="accent1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324000" rtlCol="0" anchor="ctr">
                <a:normAutofit/>
              </a:bodyPr>
              <a:lstStyle/>
              <a:p>
                <a:pPr algn="ctr"/>
                <a:r>
                  <a:rPr lang="en-US" altLang="zh-CN" sz="3200" b="1" dirty="0" smtClean="0">
                    <a:solidFill>
                      <a:srgbClr val="FFFFFF"/>
                    </a:solidFill>
                    <a:cs typeface="+mn-ea"/>
                  </a:rPr>
                  <a:t>04</a:t>
                </a:r>
                <a:endParaRPr lang="zh-CN" altLang="en-US" sz="3200" b="1" dirty="0">
                  <a:solidFill>
                    <a:srgbClr val="FFFFFF"/>
                  </a:solidFill>
                  <a:cs typeface="+mn-ea"/>
                </a:endParaRPr>
              </a:p>
            </p:txBody>
          </p:sp>
        </p:grpSp>
      </p:grpSp>
      <p:grpSp>
        <p:nvGrpSpPr>
          <p:cNvPr id="30" name="组合 29"/>
          <p:cNvGrpSpPr/>
          <p:nvPr/>
        </p:nvGrpSpPr>
        <p:grpSpPr>
          <a:xfrm>
            <a:off x="3362041" y="5120989"/>
            <a:ext cx="5301230" cy="1389068"/>
            <a:chOff x="666750" y="2518412"/>
            <a:chExt cx="5301230" cy="1389068"/>
          </a:xfrm>
        </p:grpSpPr>
        <p:sp>
          <p:nvSpPr>
            <p:cNvPr id="31" name="矩形: 圆角 4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7D3CA57B-002D-F28D-DFC8-73B6E8ABB8D0}"/>
                </a:ext>
              </a:extLst>
            </p:cNvPr>
            <p:cNvSpPr/>
            <p:nvPr/>
          </p:nvSpPr>
          <p:spPr>
            <a:xfrm>
              <a:off x="666750" y="3255049"/>
              <a:ext cx="850600" cy="61922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2" name="组合 31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D46F71D7-2160-69E3-EB19-4E9E89E86D0F}"/>
                </a:ext>
              </a:extLst>
            </p:cNvPr>
            <p:cNvGrpSpPr/>
            <p:nvPr/>
          </p:nvGrpSpPr>
          <p:grpSpPr>
            <a:xfrm>
              <a:off x="666751" y="2518412"/>
              <a:ext cx="5301229" cy="1389068"/>
              <a:chOff x="666751" y="2518412"/>
              <a:chExt cx="5301229" cy="1389068"/>
            </a:xfrm>
          </p:grpSpPr>
          <p:sp>
            <p:nvSpPr>
              <p:cNvPr id="33" name="ComponentBackground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FB513EB9-A7A6-C8D0-7C5D-5D0340A4438F}"/>
                  </a:ext>
                </a:extLst>
              </p:cNvPr>
              <p:cNvSpPr/>
              <p:nvPr/>
            </p:nvSpPr>
            <p:spPr>
              <a:xfrm>
                <a:off x="814805" y="2518412"/>
                <a:ext cx="5127888" cy="1389068"/>
              </a:xfrm>
              <a:prstGeom prst="roundRect">
                <a:avLst>
                  <a:gd name="adj" fmla="val 10672"/>
                </a:avLst>
              </a:prstGeom>
              <a:gradFill flip="none" rotWithShape="1">
                <a:gsLst>
                  <a:gs pos="0">
                    <a:schemeClr val="bg1"/>
                  </a:gs>
                  <a:gs pos="97000">
                    <a:schemeClr val="accent1">
                      <a:lumMod val="20000"/>
                      <a:lumOff val="8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solidFill>
                  <a:schemeClr val="accent1">
                    <a:alpha val="50000"/>
                  </a:schemeClr>
                </a:solidFill>
              </a:ln>
              <a:effectLst>
                <a:outerShdw blurRad="203200" dist="152400" dir="19260000" algn="ctr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34" name="Bullet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21DD0CDD-F0C2-96EE-ED31-DD4AD55E41F1}"/>
                  </a:ext>
                </a:extLst>
              </p:cNvPr>
              <p:cNvSpPr txBox="1"/>
              <p:nvPr/>
            </p:nvSpPr>
            <p:spPr>
              <a:xfrm>
                <a:off x="1973642" y="2589541"/>
                <a:ext cx="3994338" cy="11126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fontScale="92500"/>
              </a:bodyPr>
              <a:lstStyle/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/>
                  <a:t>匹配</a:t>
                </a:r>
                <a:r>
                  <a:rPr lang="zh-CN" altLang="en-US" sz="2400" dirty="0">
                    <a:solidFill>
                      <a:schemeClr val="accent1"/>
                    </a:solidFill>
                  </a:rPr>
                  <a:t>合同编号</a:t>
                </a:r>
                <a:r>
                  <a:rPr lang="zh-CN" altLang="en-US" sz="2400" dirty="0"/>
                  <a:t>与资金账号</a:t>
                </a:r>
                <a:r>
                  <a:rPr lang="zh-CN" altLang="en-US" sz="2400" dirty="0" smtClean="0"/>
                  <a:t>，</a:t>
                </a:r>
                <a:endParaRPr lang="en-US" altLang="zh-CN" sz="2400" dirty="0" smtClean="0"/>
              </a:p>
              <a:p>
                <a:pPr lvl="0" defTabSz="913765">
                  <a:lnSpc>
                    <a:spcPct val="150000"/>
                  </a:lnSpc>
                  <a:buSzPct val="25000"/>
                  <a:defRPr/>
                </a:pPr>
                <a:r>
                  <a:rPr lang="zh-CN" altLang="en-US" sz="2400" dirty="0" smtClean="0"/>
                  <a:t>监测</a:t>
                </a:r>
                <a:r>
                  <a:rPr lang="zh-CN" altLang="en-US" sz="2400" dirty="0"/>
                  <a:t>人工录入错误</a:t>
                </a:r>
              </a:p>
            </p:txBody>
          </p:sp>
          <p:sp>
            <p:nvSpPr>
              <p:cNvPr id="35" name="Number1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CA459C33-E0B0-09BD-8361-7B7D1ECAA463}"/>
                  </a:ext>
                </a:extLst>
              </p:cNvPr>
              <p:cNvSpPr/>
              <p:nvPr/>
            </p:nvSpPr>
            <p:spPr>
              <a:xfrm>
                <a:off x="666751" y="2660671"/>
                <a:ext cx="1158837" cy="970432"/>
              </a:xfrm>
              <a:custGeom>
                <a:avLst/>
                <a:gdLst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0 w 1085693"/>
                  <a:gd name="connsiteY11" fmla="*/ 256524 h 714569"/>
                  <a:gd name="connsiteX12" fmla="*/ 20159 w 1085693"/>
                  <a:gd name="connsiteY12" fmla="*/ 156674 h 714569"/>
                  <a:gd name="connsiteX13" fmla="*/ 256525 w 1085693"/>
                  <a:gd name="connsiteY13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0 w 1085693"/>
                  <a:gd name="connsiteY10" fmla="*/ 256524 h 714569"/>
                  <a:gd name="connsiteX11" fmla="*/ 20159 w 1085693"/>
                  <a:gd name="connsiteY11" fmla="*/ 156674 h 714569"/>
                  <a:gd name="connsiteX12" fmla="*/ 256525 w 1085693"/>
                  <a:gd name="connsiteY12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0 w 1085693"/>
                  <a:gd name="connsiteY9" fmla="*/ 256525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  <a:gd name="connsiteX0" fmla="*/ 256525 w 1085693"/>
                  <a:gd name="connsiteY0" fmla="*/ 0 h 714569"/>
                  <a:gd name="connsiteX1" fmla="*/ 829168 w 1085693"/>
                  <a:gd name="connsiteY1" fmla="*/ 0 h 714569"/>
                  <a:gd name="connsiteX2" fmla="*/ 1085693 w 1085693"/>
                  <a:gd name="connsiteY2" fmla="*/ 256525 h 714569"/>
                  <a:gd name="connsiteX3" fmla="*/ 1085692 w 1085693"/>
                  <a:gd name="connsiteY3" fmla="*/ 256525 h 714569"/>
                  <a:gd name="connsiteX4" fmla="*/ 829167 w 1085693"/>
                  <a:gd name="connsiteY4" fmla="*/ 513050 h 714569"/>
                  <a:gd name="connsiteX5" fmla="*/ 256525 w 1085693"/>
                  <a:gd name="connsiteY5" fmla="*/ 513049 h 714569"/>
                  <a:gd name="connsiteX6" fmla="*/ 250287 w 1085693"/>
                  <a:gd name="connsiteY6" fmla="*/ 513049 h 714569"/>
                  <a:gd name="connsiteX7" fmla="*/ 13921 w 1085693"/>
                  <a:gd name="connsiteY7" fmla="*/ 669723 h 714569"/>
                  <a:gd name="connsiteX8" fmla="*/ 0 w 1085693"/>
                  <a:gd name="connsiteY8" fmla="*/ 714569 h 714569"/>
                  <a:gd name="connsiteX9" fmla="*/ 4762 w 1085693"/>
                  <a:gd name="connsiteY9" fmla="*/ 282719 h 714569"/>
                  <a:gd name="connsiteX10" fmla="*/ 20159 w 1085693"/>
                  <a:gd name="connsiteY10" fmla="*/ 156674 h 714569"/>
                  <a:gd name="connsiteX11" fmla="*/ 256525 w 1085693"/>
                  <a:gd name="connsiteY11" fmla="*/ 0 h 714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5693" h="714569">
                    <a:moveTo>
                      <a:pt x="256525" y="0"/>
                    </a:moveTo>
                    <a:lnTo>
                      <a:pt x="829168" y="0"/>
                    </a:lnTo>
                    <a:cubicBezTo>
                      <a:pt x="970843" y="0"/>
                      <a:pt x="1085693" y="114850"/>
                      <a:pt x="1085693" y="256525"/>
                    </a:cubicBezTo>
                    <a:lnTo>
                      <a:pt x="1085692" y="256525"/>
                    </a:lnTo>
                    <a:cubicBezTo>
                      <a:pt x="1085692" y="398200"/>
                      <a:pt x="970842" y="513050"/>
                      <a:pt x="829167" y="513050"/>
                    </a:cubicBezTo>
                    <a:lnTo>
                      <a:pt x="256525" y="513049"/>
                    </a:lnTo>
                    <a:lnTo>
                      <a:pt x="250287" y="513049"/>
                    </a:lnTo>
                    <a:cubicBezTo>
                      <a:pt x="144031" y="513049"/>
                      <a:pt x="52864" y="577652"/>
                      <a:pt x="13921" y="669723"/>
                    </a:cubicBezTo>
                    <a:lnTo>
                      <a:pt x="0" y="714569"/>
                    </a:lnTo>
                    <a:cubicBezTo>
                      <a:pt x="1587" y="570619"/>
                      <a:pt x="3175" y="426669"/>
                      <a:pt x="4762" y="282719"/>
                    </a:cubicBezTo>
                    <a:cubicBezTo>
                      <a:pt x="11482" y="249435"/>
                      <a:pt x="-3230" y="218533"/>
                      <a:pt x="20159" y="156674"/>
                    </a:cubicBezTo>
                    <a:cubicBezTo>
                      <a:pt x="59102" y="64603"/>
                      <a:pt x="150269" y="0"/>
                      <a:pt x="25652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75000">
                    <a:schemeClr val="accent1"/>
                  </a:gs>
                </a:gsLst>
                <a:lin ang="2700000" scaled="1"/>
                <a:tileRect/>
              </a:gradFill>
              <a:ln w="12700">
                <a:noFill/>
              </a:ln>
              <a:effectLst>
                <a:outerShdw blurRad="127000" dist="63500" dir="2700000" algn="tl" rotWithShape="0">
                  <a:schemeClr val="accent1">
                    <a:alpha val="15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324000" rtlCol="0" anchor="ctr">
                <a:normAutofit/>
              </a:bodyPr>
              <a:lstStyle/>
              <a:p>
                <a:pPr algn="ctr"/>
                <a:r>
                  <a:rPr lang="en-US" altLang="zh-CN" sz="3200" b="1" dirty="0" smtClean="0">
                    <a:solidFill>
                      <a:srgbClr val="FFFFFF"/>
                    </a:solidFill>
                    <a:cs typeface="+mn-ea"/>
                  </a:rPr>
                  <a:t>05</a:t>
                </a:r>
                <a:endParaRPr lang="zh-CN" altLang="en-US" sz="3200" b="1" dirty="0">
                  <a:solidFill>
                    <a:srgbClr val="FFFFFF"/>
                  </a:solidFill>
                  <a:cs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3237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对角圆角矩形 26">
            <a:extLst>
              <a:ext uri="{FF2B5EF4-FFF2-40B4-BE49-F238E27FC236}">
                <a16:creationId xmlns:a16="http://schemas.microsoft.com/office/drawing/2014/main" xmlns:p14="http://schemas.microsoft.com/office/powerpoint/2010/main" xmlns="" id="{2D3FDA69-7D2B-F244-836C-8904D5EFAFD2}"/>
              </a:ext>
            </a:extLst>
          </p:cNvPr>
          <p:cNvSpPr/>
          <p:nvPr/>
        </p:nvSpPr>
        <p:spPr>
          <a:xfrm>
            <a:off x="349251" y="5305401"/>
            <a:ext cx="914401" cy="664502"/>
          </a:xfrm>
          <a:prstGeom prst="round2DiagRect">
            <a:avLst>
              <a:gd name="adj1" fmla="val 34141"/>
              <a:gd name="adj2" fmla="val 0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75000">
                <a:schemeClr val="accent2"/>
              </a:gs>
            </a:gsLst>
            <a:lin ang="2700000" scaled="1"/>
            <a:tileRect/>
          </a:gradFill>
          <a:ln w="12700">
            <a:noFill/>
          </a:ln>
          <a:effectLst>
            <a:outerShdw blurRad="127000" dist="63500" dir="2700000" algn="tl" rotWithShape="0">
              <a:schemeClr val="accent2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endParaRPr lang="zh-CN" altLang="en-US" sz="2400" b="1">
              <a:solidFill>
                <a:srgbClr val="FFFFFF"/>
              </a:solidFill>
              <a:cs typeface="+mn-ea"/>
            </a:endParaRPr>
          </a:p>
        </p:txBody>
      </p:sp>
      <p:sp>
        <p:nvSpPr>
          <p:cNvPr id="26" name="对角圆角矩形 25">
            <a:extLst>
              <a:ext uri="{FF2B5EF4-FFF2-40B4-BE49-F238E27FC236}">
                <a16:creationId xmlns:a16="http://schemas.microsoft.com/office/drawing/2014/main" xmlns:p14="http://schemas.microsoft.com/office/powerpoint/2010/main" xmlns="" id="{D248AD50-3EDA-CFF2-C4D4-CF0CB022F1AC}"/>
              </a:ext>
            </a:extLst>
          </p:cNvPr>
          <p:cNvSpPr/>
          <p:nvPr/>
        </p:nvSpPr>
        <p:spPr>
          <a:xfrm>
            <a:off x="0" y="-1"/>
            <a:ext cx="1553029" cy="1698171"/>
          </a:xfrm>
          <a:prstGeom prst="round2Diag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75000">
                <a:schemeClr val="accent1"/>
              </a:gs>
            </a:gsLst>
            <a:lin ang="2700000" scaled="1"/>
            <a:tileRect/>
          </a:gradFill>
          <a:ln w="12700">
            <a:noFill/>
          </a:ln>
          <a:effectLst>
            <a:outerShdw blurRad="127000" dist="63500" dir="2700000" algn="tl" rotWithShape="0">
              <a:schemeClr val="accent1">
                <a:alpha val="15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sz="3600" b="1">
              <a:solidFill>
                <a:srgbClr val="FFFFFF"/>
              </a:solidFill>
              <a:cs typeface="+mn-ea"/>
            </a:endParaRPr>
          </a:p>
        </p:txBody>
      </p:sp>
      <p:sp>
        <p:nvSpPr>
          <p:cNvPr id="3" name="矩形: 圆角 4">
            <a:extLst>
              <a:ext uri="{FF2B5EF4-FFF2-40B4-BE49-F238E27FC236}">
                <a16:creationId xmlns:a16="http://schemas.microsoft.com/office/drawing/2014/main" xmlns:p14="http://schemas.microsoft.com/office/powerpoint/2010/main" xmlns="" id="{2FC3BED2-220C-5A18-DCCC-3CCE44CD9137}"/>
              </a:ext>
            </a:extLst>
          </p:cNvPr>
          <p:cNvSpPr/>
          <p:nvPr/>
        </p:nvSpPr>
        <p:spPr>
          <a:xfrm>
            <a:off x="0" y="-1"/>
            <a:ext cx="12192001" cy="6858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1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rtlCol="0" anchor="ctr" anchorCtr="0">
            <a:normAutofit/>
          </a:bodyPr>
          <a:lstStyle/>
          <a:p>
            <a:pPr algn="ctr"/>
            <a:endParaRPr kumimoji="1" lang="zh-CN" altLang="en-US" sz="2400" b="1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1" name="矩形: 对角圆角 10">
            <a:extLst>
              <a:ext uri="{FF2B5EF4-FFF2-40B4-BE49-F238E27FC236}">
                <a16:creationId xmlns:a16="http://schemas.microsoft.com/office/drawing/2014/main" xmlns:p14="http://schemas.microsoft.com/office/powerpoint/2010/main" xmlns="" id="{B1F35525-796D-E647-55BE-0BFF1A6725F7}"/>
              </a:ext>
            </a:extLst>
          </p:cNvPr>
          <p:cNvSpPr/>
          <p:nvPr/>
        </p:nvSpPr>
        <p:spPr>
          <a:xfrm>
            <a:off x="1815604" y="1187729"/>
            <a:ext cx="4040974" cy="164618"/>
          </a:xfrm>
          <a:prstGeom prst="round2Diag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97000">
                <a:schemeClr val="accent2"/>
              </a:gs>
            </a:gsLst>
            <a:lin ang="0" scaled="0"/>
            <a:tileRect/>
          </a:gradFill>
          <a:ln w="9525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040" tIns="45720" rIns="18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zh-CN" altLang="en-US" b="1">
              <a:solidFill>
                <a:schemeClr val="tx1"/>
              </a:solidFill>
              <a:cs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15604" y="587474"/>
            <a:ext cx="3052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/>
              <a:t>合同状态变化图</a:t>
            </a:r>
            <a:endParaRPr lang="zh-CN" altLang="en-US" sz="2800" b="1" dirty="0"/>
          </a:p>
        </p:txBody>
      </p:sp>
      <p:sp>
        <p:nvSpPr>
          <p:cNvPr id="5" name="圆角矩形 4"/>
          <p:cNvSpPr/>
          <p:nvPr/>
        </p:nvSpPr>
        <p:spPr>
          <a:xfrm>
            <a:off x="1553029" y="2401764"/>
            <a:ext cx="1818434" cy="7890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空白合同</a:t>
            </a:r>
            <a:endParaRPr lang="zh-CN" altLang="en-US" dirty="0"/>
          </a:p>
        </p:txBody>
      </p:sp>
      <p:sp>
        <p:nvSpPr>
          <p:cNvPr id="17" name="圆角矩形 16"/>
          <p:cNvSpPr/>
          <p:nvPr/>
        </p:nvSpPr>
        <p:spPr>
          <a:xfrm>
            <a:off x="4016459" y="2401764"/>
            <a:ext cx="1818434" cy="7890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部门申领</a:t>
            </a:r>
            <a:endParaRPr lang="zh-CN" altLang="en-US" dirty="0"/>
          </a:p>
        </p:txBody>
      </p:sp>
      <p:sp>
        <p:nvSpPr>
          <p:cNvPr id="18" name="圆角矩形 17"/>
          <p:cNvSpPr/>
          <p:nvPr/>
        </p:nvSpPr>
        <p:spPr>
          <a:xfrm>
            <a:off x="6543799" y="2401764"/>
            <a:ext cx="1818434" cy="7890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部门已申领</a:t>
            </a:r>
            <a:endParaRPr lang="zh-CN" altLang="en-US" dirty="0"/>
          </a:p>
        </p:txBody>
      </p:sp>
      <p:sp>
        <p:nvSpPr>
          <p:cNvPr id="19" name="圆角矩形 18"/>
          <p:cNvSpPr/>
          <p:nvPr/>
        </p:nvSpPr>
        <p:spPr>
          <a:xfrm>
            <a:off x="9071139" y="2401764"/>
            <a:ext cx="1818434" cy="7890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员工已申领</a:t>
            </a:r>
            <a:endParaRPr lang="zh-CN" altLang="en-US" dirty="0"/>
          </a:p>
        </p:txBody>
      </p:sp>
      <p:sp>
        <p:nvSpPr>
          <p:cNvPr id="20" name="圆角矩形 19"/>
          <p:cNvSpPr/>
          <p:nvPr/>
        </p:nvSpPr>
        <p:spPr>
          <a:xfrm>
            <a:off x="7948259" y="4231996"/>
            <a:ext cx="1626705" cy="43002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作废</a:t>
            </a:r>
            <a:r>
              <a:rPr lang="en-US" altLang="zh-CN" dirty="0" smtClean="0"/>
              <a:t>/</a:t>
            </a:r>
            <a:r>
              <a:rPr lang="zh-CN" altLang="en-US" dirty="0" smtClean="0"/>
              <a:t>遗失中</a:t>
            </a:r>
            <a:endParaRPr lang="zh-CN" altLang="en-US" dirty="0"/>
          </a:p>
        </p:txBody>
      </p:sp>
      <p:sp>
        <p:nvSpPr>
          <p:cNvPr id="22" name="圆角矩形 21"/>
          <p:cNvSpPr/>
          <p:nvPr/>
        </p:nvSpPr>
        <p:spPr>
          <a:xfrm>
            <a:off x="7948261" y="5229312"/>
            <a:ext cx="1626705" cy="43002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已作废</a:t>
            </a:r>
            <a:r>
              <a:rPr lang="en-US" altLang="zh-CN" dirty="0" smtClean="0"/>
              <a:t>/</a:t>
            </a:r>
            <a:r>
              <a:rPr lang="zh-CN" altLang="en-US" dirty="0" smtClean="0"/>
              <a:t>遗失</a:t>
            </a:r>
            <a:endParaRPr lang="zh-CN" altLang="en-US" dirty="0"/>
          </a:p>
        </p:txBody>
      </p:sp>
      <p:sp>
        <p:nvSpPr>
          <p:cNvPr id="24" name="圆角矩形 23"/>
          <p:cNvSpPr/>
          <p:nvPr/>
        </p:nvSpPr>
        <p:spPr>
          <a:xfrm>
            <a:off x="4000175" y="4569280"/>
            <a:ext cx="1818434" cy="7890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归档中</a:t>
            </a:r>
          </a:p>
        </p:txBody>
      </p:sp>
      <p:sp>
        <p:nvSpPr>
          <p:cNvPr id="30" name="圆角矩形 29"/>
          <p:cNvSpPr/>
          <p:nvPr/>
        </p:nvSpPr>
        <p:spPr>
          <a:xfrm>
            <a:off x="1548994" y="4569280"/>
            <a:ext cx="1818434" cy="7890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已归档</a:t>
            </a:r>
            <a:endParaRPr lang="zh-CN" altLang="en-US" dirty="0"/>
          </a:p>
        </p:txBody>
      </p:sp>
      <p:sp>
        <p:nvSpPr>
          <p:cNvPr id="6" name="右箭头 5"/>
          <p:cNvSpPr/>
          <p:nvPr/>
        </p:nvSpPr>
        <p:spPr>
          <a:xfrm>
            <a:off x="3498840" y="2664151"/>
            <a:ext cx="428017" cy="33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右箭头 30"/>
          <p:cNvSpPr/>
          <p:nvPr/>
        </p:nvSpPr>
        <p:spPr>
          <a:xfrm>
            <a:off x="5975337" y="2664151"/>
            <a:ext cx="428017" cy="33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右箭头 31"/>
          <p:cNvSpPr/>
          <p:nvPr/>
        </p:nvSpPr>
        <p:spPr>
          <a:xfrm>
            <a:off x="8585429" y="2852772"/>
            <a:ext cx="428017" cy="33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右箭头 32"/>
          <p:cNvSpPr/>
          <p:nvPr/>
        </p:nvSpPr>
        <p:spPr>
          <a:xfrm flipH="1">
            <a:off x="8502677" y="2493907"/>
            <a:ext cx="428017" cy="33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右箭头 33"/>
          <p:cNvSpPr/>
          <p:nvPr/>
        </p:nvSpPr>
        <p:spPr>
          <a:xfrm rot="8634933">
            <a:off x="6024852" y="4625768"/>
            <a:ext cx="591466" cy="33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右箭头 34"/>
          <p:cNvSpPr/>
          <p:nvPr/>
        </p:nvSpPr>
        <p:spPr>
          <a:xfrm rot="5400000">
            <a:off x="8547604" y="3711711"/>
            <a:ext cx="428017" cy="338032"/>
          </a:xfrm>
          <a:prstGeom prst="rightArrow">
            <a:avLst/>
          </a:prstGeom>
          <a:ln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右箭头 35"/>
          <p:cNvSpPr/>
          <p:nvPr/>
        </p:nvSpPr>
        <p:spPr>
          <a:xfrm rot="5400000">
            <a:off x="8547602" y="4794784"/>
            <a:ext cx="428017" cy="338032"/>
          </a:xfrm>
          <a:prstGeom prst="rightArrow">
            <a:avLst/>
          </a:prstGeom>
          <a:ln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圆角矩形 6"/>
          <p:cNvSpPr/>
          <p:nvPr/>
        </p:nvSpPr>
        <p:spPr>
          <a:xfrm>
            <a:off x="6803105" y="3428999"/>
            <a:ext cx="3953752" cy="2506856"/>
          </a:xfrm>
          <a:prstGeom prst="roundRect">
            <a:avLst>
              <a:gd name="adj" fmla="val 10846"/>
            </a:avLst>
          </a:prstGeom>
          <a:noFill/>
          <a:ln w="1905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右箭头 36"/>
          <p:cNvSpPr/>
          <p:nvPr/>
        </p:nvSpPr>
        <p:spPr>
          <a:xfrm flipH="1">
            <a:off x="3467417" y="4794784"/>
            <a:ext cx="428017" cy="33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5296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420099" y="61261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xmlns="" id="{FEE52B56-4C8A-55F7-0D73-1555A0207524}"/>
              </a:ext>
            </a:extLst>
          </p:cNvPr>
          <p:cNvSpPr txBox="1">
            <a:spLocks/>
          </p:cNvSpPr>
          <p:nvPr/>
        </p:nvSpPr>
        <p:spPr>
          <a:xfrm>
            <a:off x="587375" y="574154"/>
            <a:ext cx="10850563" cy="102869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0831A2"/>
                </a:solidFill>
                <a:latin typeface="+mn-ea"/>
              </a:rPr>
              <a:t>▌ </a:t>
            </a:r>
            <a:r>
              <a:rPr lang="en-US" altLang="zh-CN" dirty="0" smtClean="0">
                <a:latin typeface="+mn-ea"/>
                <a:sym typeface="+mn-ea"/>
              </a:rPr>
              <a:t>1. </a:t>
            </a:r>
            <a:r>
              <a:rPr lang="zh-CN" altLang="en-US" dirty="0" smtClean="0">
                <a:latin typeface="+mn-ea"/>
                <a:sym typeface="+mn-ea"/>
              </a:rPr>
              <a:t>空白合同管理</a:t>
            </a:r>
            <a:endParaRPr lang="zh-CN" altLang="en-US" dirty="0"/>
          </a:p>
        </p:txBody>
      </p:sp>
      <p:pic>
        <p:nvPicPr>
          <p:cNvPr id="3074" name="Picture 2" descr="https://tcs.teambition.net/storage/312j99d1e09985c78e6bdfdd3e5d81c30d90?Signature=eyJhbGciOiJIUzI1NiIsInR5cCI6IkpXVCJ9.eyJBcHBJRCI6IjU5Mzc3MGZmODM5NjMyMDAyZTAzNThmMSIsIl9hcHBJZCI6IjU5Mzc3MGZmODM5NjMyMDAyZTAzNThmMSIsIl9vcmdhbml6YXRpb25JZCI6IiIsImV4cCI6MTcyNDY2MDU5NSwiaWF0IjoxNzI0MDU1Nzk1LCJyZXNvdXJjZSI6Ii9zdG9yYWdlLzMxMmo5OWQxZTA5OTg1Yzc4ZTZiZGZkZDNlNWQ4MWMzMGQ5MCJ9.--2Rpp1csG4mnnJlCMVK9fUGxSuox6mmKhXusNafAI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681" y="1421042"/>
            <a:ext cx="8390244" cy="1740530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tcs.teambition.net/storage/312ib608cf922d7629d3e5b209c70dd5e6bf?Signature=eyJhbGciOiJIUzI1NiIsInR5cCI6IkpXVCJ9.eyJBcHBJRCI6IjU5Mzc3MGZmODM5NjMyMDAyZTAzNThmMSIsIl9hcHBJZCI6IjU5Mzc3MGZmODM5NjMyMDAyZTAzNThmMSIsIl9vcmdhbml6YXRpb25JZCI6IiIsImV4cCI6MTcyNDY2MDU5NSwiaWF0IjoxNzI0MDU1Nzk1LCJyZXNvdXJjZSI6Ii9zdG9yYWdlLzMxMmliNjA4Y2Y5MjJkNzYyOWQzZTViMjA5YzcwZGQ1ZTZiZiJ9.1-D_ZlaxNELRounDvGF9-QpGXDJ9bYJqFbtsxgPArn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23"/>
          <a:stretch/>
        </p:blipFill>
        <p:spPr bwMode="auto">
          <a:xfrm>
            <a:off x="1296682" y="3778908"/>
            <a:ext cx="8390243" cy="1746403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45977" y="4769632"/>
            <a:ext cx="745724" cy="259153"/>
          </a:xfrm>
          <a:prstGeom prst="rect">
            <a:avLst/>
          </a:prstGeom>
        </p:spPr>
      </p:pic>
      <p:sp>
        <p:nvSpPr>
          <p:cNvPr id="19" name="duplicate-cursors_73507">
            <a:extLst>
              <a:ext uri="{FF2B5EF4-FFF2-40B4-BE49-F238E27FC236}">
                <a16:creationId xmlns="" xmlns:a16="http://schemas.microsoft.com/office/drawing/2014/main" xmlns:p14="http://schemas.microsoft.com/office/powerpoint/2010/main" id="{54405246-CCE2-4201-BBB1-D3F3EB6E740D}"/>
              </a:ext>
            </a:extLst>
          </p:cNvPr>
          <p:cNvSpPr/>
          <p:nvPr/>
        </p:nvSpPr>
        <p:spPr>
          <a:xfrm rot="20714142">
            <a:off x="9704545" y="4895209"/>
            <a:ext cx="340995" cy="267152"/>
          </a:xfrm>
          <a:custGeom>
            <a:avLst/>
            <a:gdLst>
              <a:gd name="connsiteX0" fmla="*/ 235582 w 606499"/>
              <a:gd name="connsiteY0" fmla="*/ 36184 h 496921"/>
              <a:gd name="connsiteX1" fmla="*/ 255486 w 606499"/>
              <a:gd name="connsiteY1" fmla="*/ 41317 h 496921"/>
              <a:gd name="connsiteX2" fmla="*/ 587131 w 606499"/>
              <a:gd name="connsiteY2" fmla="*/ 234590 h 496921"/>
              <a:gd name="connsiteX3" fmla="*/ 606165 w 606499"/>
              <a:gd name="connsiteY3" fmla="*/ 273337 h 496921"/>
              <a:gd name="connsiteX4" fmla="*/ 577568 w 606499"/>
              <a:gd name="connsiteY4" fmla="*/ 305781 h 496921"/>
              <a:gd name="connsiteX5" fmla="*/ 403575 w 606499"/>
              <a:gd name="connsiteY5" fmla="*/ 352314 h 496921"/>
              <a:gd name="connsiteX6" fmla="*/ 281112 w 606499"/>
              <a:gd name="connsiteY6" fmla="*/ 484407 h 496921"/>
              <a:gd name="connsiteX7" fmla="*/ 252515 w 606499"/>
              <a:gd name="connsiteY7" fmla="*/ 496921 h 496921"/>
              <a:gd name="connsiteX8" fmla="*/ 239145 w 606499"/>
              <a:gd name="connsiteY8" fmla="*/ 494511 h 496921"/>
              <a:gd name="connsiteX9" fmla="*/ 213613 w 606499"/>
              <a:gd name="connsiteY9" fmla="*/ 459657 h 496921"/>
              <a:gd name="connsiteX10" fmla="*/ 210085 w 606499"/>
              <a:gd name="connsiteY10" fmla="*/ 378084 h 496921"/>
              <a:gd name="connsiteX11" fmla="*/ 226797 w 606499"/>
              <a:gd name="connsiteY11" fmla="*/ 360101 h 496921"/>
              <a:gd name="connsiteX12" fmla="*/ 248058 w 606499"/>
              <a:gd name="connsiteY12" fmla="*/ 354354 h 496921"/>
              <a:gd name="connsiteX13" fmla="*/ 252515 w 606499"/>
              <a:gd name="connsiteY13" fmla="*/ 458637 h 496921"/>
              <a:gd name="connsiteX14" fmla="*/ 253072 w 606499"/>
              <a:gd name="connsiteY14" fmla="*/ 458452 h 496921"/>
              <a:gd name="connsiteX15" fmla="*/ 382778 w 606499"/>
              <a:gd name="connsiteY15" fmla="*/ 318387 h 496921"/>
              <a:gd name="connsiteX16" fmla="*/ 567726 w 606499"/>
              <a:gd name="connsiteY16" fmla="*/ 268795 h 496921"/>
              <a:gd name="connsiteX17" fmla="*/ 236267 w 606499"/>
              <a:gd name="connsiteY17" fmla="*/ 74410 h 496921"/>
              <a:gd name="connsiteX18" fmla="*/ 236267 w 606499"/>
              <a:gd name="connsiteY18" fmla="*/ 76357 h 496921"/>
              <a:gd name="connsiteX19" fmla="*/ 201821 w 606499"/>
              <a:gd name="connsiteY19" fmla="*/ 56241 h 496921"/>
              <a:gd name="connsiteX20" fmla="*/ 215748 w 606499"/>
              <a:gd name="connsiteY20" fmla="*/ 41688 h 496921"/>
              <a:gd name="connsiteX21" fmla="*/ 235582 w 606499"/>
              <a:gd name="connsiteY21" fmla="*/ 36184 h 496921"/>
              <a:gd name="connsiteX22" fmla="*/ 23046 w 606499"/>
              <a:gd name="connsiteY22" fmla="*/ 0 h 496921"/>
              <a:gd name="connsiteX23" fmla="*/ 34744 w 606499"/>
              <a:gd name="connsiteY23" fmla="*/ 3151 h 496921"/>
              <a:gd name="connsiteX24" fmla="*/ 420765 w 606499"/>
              <a:gd name="connsiteY24" fmla="*/ 228112 h 496921"/>
              <a:gd name="connsiteX25" fmla="*/ 431998 w 606499"/>
              <a:gd name="connsiteY25" fmla="*/ 251007 h 496921"/>
              <a:gd name="connsiteX26" fmla="*/ 415102 w 606499"/>
              <a:gd name="connsiteY26" fmla="*/ 270194 h 496921"/>
              <a:gd name="connsiteX27" fmla="*/ 206216 w 606499"/>
              <a:gd name="connsiteY27" fmla="*/ 325994 h 496921"/>
              <a:gd name="connsiteX28" fmla="*/ 59439 w 606499"/>
              <a:gd name="connsiteY28" fmla="*/ 484496 h 496921"/>
              <a:gd name="connsiteX29" fmla="*/ 42450 w 606499"/>
              <a:gd name="connsiteY29" fmla="*/ 491911 h 496921"/>
              <a:gd name="connsiteX30" fmla="*/ 34558 w 606499"/>
              <a:gd name="connsiteY30" fmla="*/ 490521 h 496921"/>
              <a:gd name="connsiteX31" fmla="*/ 19519 w 606499"/>
              <a:gd name="connsiteY31" fmla="*/ 469851 h 496921"/>
              <a:gd name="connsiteX32" fmla="*/ 23 w 606499"/>
              <a:gd name="connsiteY32" fmla="*/ 24007 h 496921"/>
              <a:gd name="connsiteX33" fmla="*/ 11163 w 606499"/>
              <a:gd name="connsiteY33" fmla="*/ 3337 h 496921"/>
              <a:gd name="connsiteX34" fmla="*/ 23046 w 606499"/>
              <a:gd name="connsiteY34" fmla="*/ 0 h 496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6499" h="496921">
                <a:moveTo>
                  <a:pt x="235582" y="36184"/>
                </a:moveTo>
                <a:cubicBezTo>
                  <a:pt x="242511" y="36126"/>
                  <a:pt x="249451" y="37841"/>
                  <a:pt x="255486" y="41317"/>
                </a:cubicBezTo>
                <a:lnTo>
                  <a:pt x="587131" y="234590"/>
                </a:lnTo>
                <a:cubicBezTo>
                  <a:pt x="600780" y="242562"/>
                  <a:pt x="608207" y="257764"/>
                  <a:pt x="606165" y="273337"/>
                </a:cubicBezTo>
                <a:cubicBezTo>
                  <a:pt x="604029" y="289003"/>
                  <a:pt x="592795" y="301702"/>
                  <a:pt x="577568" y="305781"/>
                </a:cubicBezTo>
                <a:lnTo>
                  <a:pt x="403575" y="352314"/>
                </a:lnTo>
                <a:lnTo>
                  <a:pt x="281112" y="484407"/>
                </a:lnTo>
                <a:cubicBezTo>
                  <a:pt x="273777" y="492379"/>
                  <a:pt x="263378" y="496921"/>
                  <a:pt x="252515" y="496921"/>
                </a:cubicBezTo>
                <a:cubicBezTo>
                  <a:pt x="247966" y="496921"/>
                  <a:pt x="243416" y="496087"/>
                  <a:pt x="239145" y="494511"/>
                </a:cubicBezTo>
                <a:cubicBezTo>
                  <a:pt x="224290" y="489042"/>
                  <a:pt x="214355" y="475323"/>
                  <a:pt x="213613" y="459657"/>
                </a:cubicBezTo>
                <a:lnTo>
                  <a:pt x="210085" y="378084"/>
                </a:lnTo>
                <a:lnTo>
                  <a:pt x="226797" y="360101"/>
                </a:lnTo>
                <a:lnTo>
                  <a:pt x="248058" y="354354"/>
                </a:lnTo>
                <a:lnTo>
                  <a:pt x="252515" y="458637"/>
                </a:lnTo>
                <a:cubicBezTo>
                  <a:pt x="252608" y="458637"/>
                  <a:pt x="252886" y="458637"/>
                  <a:pt x="253072" y="458452"/>
                </a:cubicBezTo>
                <a:lnTo>
                  <a:pt x="382778" y="318387"/>
                </a:lnTo>
                <a:lnTo>
                  <a:pt x="567726" y="268795"/>
                </a:lnTo>
                <a:lnTo>
                  <a:pt x="236267" y="74410"/>
                </a:lnTo>
                <a:lnTo>
                  <a:pt x="236267" y="76357"/>
                </a:lnTo>
                <a:lnTo>
                  <a:pt x="201821" y="56241"/>
                </a:lnTo>
                <a:cubicBezTo>
                  <a:pt x="205071" y="50309"/>
                  <a:pt x="209806" y="45211"/>
                  <a:pt x="215748" y="41688"/>
                </a:cubicBezTo>
                <a:cubicBezTo>
                  <a:pt x="221737" y="38073"/>
                  <a:pt x="228654" y="36242"/>
                  <a:pt x="235582" y="36184"/>
                </a:cubicBezTo>
                <a:close/>
                <a:moveTo>
                  <a:pt x="23046" y="0"/>
                </a:moveTo>
                <a:cubicBezTo>
                  <a:pt x="27038" y="0"/>
                  <a:pt x="31123" y="1020"/>
                  <a:pt x="34744" y="3151"/>
                </a:cubicBezTo>
                <a:lnTo>
                  <a:pt x="420765" y="228112"/>
                </a:lnTo>
                <a:cubicBezTo>
                  <a:pt x="428842" y="232747"/>
                  <a:pt x="433205" y="241831"/>
                  <a:pt x="431998" y="251007"/>
                </a:cubicBezTo>
                <a:cubicBezTo>
                  <a:pt x="430791" y="260276"/>
                  <a:pt x="424107" y="267784"/>
                  <a:pt x="415102" y="270194"/>
                </a:cubicBezTo>
                <a:lnTo>
                  <a:pt x="206216" y="325994"/>
                </a:lnTo>
                <a:lnTo>
                  <a:pt x="59439" y="484496"/>
                </a:lnTo>
                <a:cubicBezTo>
                  <a:pt x="54983" y="489316"/>
                  <a:pt x="48763" y="491911"/>
                  <a:pt x="42450" y="491911"/>
                </a:cubicBezTo>
                <a:cubicBezTo>
                  <a:pt x="39850" y="491911"/>
                  <a:pt x="37158" y="491448"/>
                  <a:pt x="34558" y="490521"/>
                </a:cubicBezTo>
                <a:cubicBezTo>
                  <a:pt x="25832" y="487276"/>
                  <a:pt x="19890" y="479212"/>
                  <a:pt x="19519" y="469851"/>
                </a:cubicBezTo>
                <a:lnTo>
                  <a:pt x="23" y="24007"/>
                </a:lnTo>
                <a:cubicBezTo>
                  <a:pt x="-349" y="15572"/>
                  <a:pt x="3922" y="7601"/>
                  <a:pt x="11163" y="3337"/>
                </a:cubicBezTo>
                <a:cubicBezTo>
                  <a:pt x="14784" y="1112"/>
                  <a:pt x="18962" y="0"/>
                  <a:pt x="2304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矩形 12"/>
          <p:cNvSpPr/>
          <p:nvPr/>
        </p:nvSpPr>
        <p:spPr>
          <a:xfrm>
            <a:off x="10018607" y="4774869"/>
            <a:ext cx="1826141" cy="4181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1"/>
                </a:solidFill>
                <a:latin typeface="+mn-ea"/>
              </a:rPr>
              <a:t>支持电子母版管理</a:t>
            </a:r>
          </a:p>
        </p:txBody>
      </p:sp>
      <p:sp>
        <p:nvSpPr>
          <p:cNvPr id="10" name="Bullet1">
            <a:extLst>
              <a:ext uri="{FF2B5EF4-FFF2-40B4-BE49-F238E27FC236}">
                <a16:creationId xmlns="" xmlns:p14="http://schemas.microsoft.com/office/powerpoint/2010/main" xmlns:a16="http://schemas.microsoft.com/office/drawing/2014/main" id="{2D8876DB-4EBF-6E1A-2FA6-CEF4F4F21F1F}"/>
              </a:ext>
            </a:extLst>
          </p:cNvPr>
          <p:cNvSpPr/>
          <p:nvPr/>
        </p:nvSpPr>
        <p:spPr>
          <a:xfrm>
            <a:off x="819653" y="1421043"/>
            <a:ext cx="511446" cy="1740530"/>
          </a:xfrm>
          <a:prstGeom prst="roundRect">
            <a:avLst/>
          </a:prstGeom>
          <a:solidFill>
            <a:schemeClr val="accent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合同</a:t>
            </a:r>
            <a:r>
              <a:rPr lang="zh-CN" altLang="en-US" dirty="0">
                <a:solidFill>
                  <a:srgbClr val="FFFFFF"/>
                </a:solidFill>
              </a:rPr>
              <a:t>模板</a:t>
            </a:r>
            <a:r>
              <a:rPr lang="zh-CN" altLang="en-US" dirty="0" smtClean="0">
                <a:solidFill>
                  <a:srgbClr val="FFFFFF"/>
                </a:solidFill>
              </a:rPr>
              <a:t>管理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1" name="Bullet1">
            <a:extLst>
              <a:ext uri="{FF2B5EF4-FFF2-40B4-BE49-F238E27FC236}">
                <a16:creationId xmlns="" xmlns:p14="http://schemas.microsoft.com/office/powerpoint/2010/main" xmlns:a16="http://schemas.microsoft.com/office/drawing/2014/main" id="{2D8876DB-4EBF-6E1A-2FA6-CEF4F4F21F1F}"/>
              </a:ext>
            </a:extLst>
          </p:cNvPr>
          <p:cNvSpPr/>
          <p:nvPr/>
        </p:nvSpPr>
        <p:spPr>
          <a:xfrm>
            <a:off x="819653" y="3778907"/>
            <a:ext cx="511446" cy="1740530"/>
          </a:xfrm>
          <a:prstGeom prst="roundRect">
            <a:avLst/>
          </a:prstGeom>
          <a:solidFill>
            <a:schemeClr val="accent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合同版本管理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74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420099" y="61261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xmlns="" id="{FEE52B56-4C8A-55F7-0D73-1555A0207524}"/>
              </a:ext>
            </a:extLst>
          </p:cNvPr>
          <p:cNvSpPr txBox="1">
            <a:spLocks/>
          </p:cNvSpPr>
          <p:nvPr/>
        </p:nvSpPr>
        <p:spPr>
          <a:xfrm>
            <a:off x="587375" y="574154"/>
            <a:ext cx="10850563" cy="102869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0831A2"/>
                </a:solidFill>
                <a:latin typeface="+mn-ea"/>
              </a:rPr>
              <a:t>▌ </a:t>
            </a:r>
            <a:r>
              <a:rPr lang="en-US" altLang="zh-CN" dirty="0" smtClean="0">
                <a:latin typeface="+mn-ea"/>
                <a:sym typeface="+mn-ea"/>
              </a:rPr>
              <a:t>1. </a:t>
            </a:r>
            <a:r>
              <a:rPr lang="zh-CN" altLang="en-US" dirty="0" smtClean="0">
                <a:latin typeface="+mn-ea"/>
                <a:sym typeface="+mn-ea"/>
              </a:rPr>
              <a:t>空白合同管理</a:t>
            </a:r>
            <a:endParaRPr lang="zh-CN" altLang="en-US" dirty="0"/>
          </a:p>
        </p:txBody>
      </p:sp>
      <p:pic>
        <p:nvPicPr>
          <p:cNvPr id="3078" name="Picture 6" descr="https://tcs.teambition.net/storage/312j72ba45bb6d4958035930dfe74cba7279?Signature=eyJhbGciOiJIUzI1NiIsInR5cCI6IkpXVCJ9.eyJBcHBJRCI6IjU5Mzc3MGZmODM5NjMyMDAyZTAzNThmMSIsIl9hcHBJZCI6IjU5Mzc3MGZmODM5NjMyMDAyZTAzNThmMSIsIl9vcmdhbml6YXRpb25JZCI6IiIsImV4cCI6MTcyNDY2MDU5NSwiaWF0IjoxNzI0MDU1Nzk1LCJyZXNvdXJjZSI6Ii9zdG9yYWdlLzMxMmo3MmJhNDViYjZkNDk1ODAzNTkzMGRmZTc0Y2JhNzI3OSJ9.-iODLwo99Hb7-7OztgxSw9EaOyaeQDiWaynFKd1Y83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086" y="2276863"/>
            <a:ext cx="4848225" cy="2866271"/>
          </a:xfrm>
          <a:prstGeom prst="rect">
            <a:avLst/>
          </a:prstGeom>
          <a:noFill/>
          <a:ln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/>
          <p:cNvSpPr txBox="1"/>
          <p:nvPr/>
        </p:nvSpPr>
        <p:spPr>
          <a:xfrm>
            <a:off x="6543676" y="3237221"/>
            <a:ext cx="5648324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latin typeface="+mn-ea"/>
              </a:rPr>
              <a:t>区分有合同编号的</a:t>
            </a:r>
            <a:r>
              <a:rPr lang="zh-CN" altLang="en-US" sz="1600" dirty="0" smtClean="0">
                <a:solidFill>
                  <a:schemeClr val="accent1"/>
                </a:solidFill>
                <a:latin typeface="+mn-ea"/>
              </a:rPr>
              <a:t>正式合同</a:t>
            </a:r>
            <a:r>
              <a:rPr lang="zh-CN" altLang="en-US" sz="1600" dirty="0" smtClean="0">
                <a:latin typeface="+mn-ea"/>
              </a:rPr>
              <a:t>和无合同编号的</a:t>
            </a:r>
            <a:r>
              <a:rPr lang="zh-CN" altLang="en-US" sz="1600" dirty="0" smtClean="0">
                <a:solidFill>
                  <a:schemeClr val="accent1"/>
                </a:solidFill>
                <a:latin typeface="+mn-ea"/>
              </a:rPr>
              <a:t>协议合同</a:t>
            </a:r>
            <a:endParaRPr lang="en-US" altLang="zh-CN" sz="1600" dirty="0" smtClean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16" name="Bullet1">
            <a:extLst>
              <a:ext uri="{FF2B5EF4-FFF2-40B4-BE49-F238E27FC236}">
                <a16:creationId xmlns="" xmlns:p14="http://schemas.microsoft.com/office/powerpoint/2010/main" xmlns:a16="http://schemas.microsoft.com/office/drawing/2014/main" id="{2D8876DB-4EBF-6E1A-2FA6-CEF4F4F21F1F}"/>
              </a:ext>
            </a:extLst>
          </p:cNvPr>
          <p:cNvSpPr/>
          <p:nvPr/>
        </p:nvSpPr>
        <p:spPr>
          <a:xfrm>
            <a:off x="1218085" y="1906621"/>
            <a:ext cx="4848225" cy="370242"/>
          </a:xfrm>
          <a:prstGeom prst="roundRect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合同入库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24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420099" y="61261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xmlns="" id="{FEE52B56-4C8A-55F7-0D73-1555A0207524}"/>
              </a:ext>
            </a:extLst>
          </p:cNvPr>
          <p:cNvSpPr txBox="1">
            <a:spLocks/>
          </p:cNvSpPr>
          <p:nvPr/>
        </p:nvSpPr>
        <p:spPr>
          <a:xfrm>
            <a:off x="587375" y="574154"/>
            <a:ext cx="10850563" cy="102869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0831A2"/>
                </a:solidFill>
                <a:latin typeface="+mn-ea"/>
              </a:rPr>
              <a:t>▌ </a:t>
            </a:r>
            <a:r>
              <a:rPr lang="en-US" altLang="zh-CN" dirty="0" smtClean="0">
                <a:latin typeface="+mn-ea"/>
                <a:sym typeface="+mn-ea"/>
              </a:rPr>
              <a:t>2. </a:t>
            </a:r>
            <a:r>
              <a:rPr lang="zh-CN" altLang="en-US" dirty="0" smtClean="0">
                <a:latin typeface="+mn-ea"/>
                <a:sym typeface="+mn-ea"/>
              </a:rPr>
              <a:t>合同申领和借调</a:t>
            </a:r>
            <a:endParaRPr lang="zh-CN" altLang="en-US" dirty="0"/>
          </a:p>
        </p:txBody>
      </p:sp>
      <p:pic>
        <p:nvPicPr>
          <p:cNvPr id="3074" name="Picture 2" descr="https://tcs.teambition.net/storage/312o7189132afd9c93fe7462b306b8061d12?Signature=eyJhbGciOiJIUzI1NiIsInR5cCI6IkpXVCJ9.eyJBcHBJRCI6IjU5Mzc3MGZmODM5NjMyMDAyZTAzNThmMSIsIl9hcHBJZCI6IjU5Mzc3MGZmODM5NjMyMDAyZTAzNThmMSIsIl9vcmdhbml6YXRpb25JZCI6IiIsImV4cCI6MTcyNDcyNTg1MiwiaWF0IjoxNzI0MTIxMDUyLCJyZXNvdXJjZSI6Ii9zdG9yYWdlLzMxMm83MTg5MTMyYWZkOWM5M2ZlNzQ2MmIzMDZiODA2MWQxMiJ9.JNOQ8YshXVR5fwhFwW934sW4mpUjcQJXQ5yYcvZyP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358" y="2153972"/>
            <a:ext cx="6179998" cy="270751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usher-man-with-tie_44807">
            <a:extLst>
              <a:ext uri="{FF2B5EF4-FFF2-40B4-BE49-F238E27FC236}">
                <a16:creationId xmlns="" xmlns:a16="http://schemas.microsoft.com/office/drawing/2014/main" xmlns:p14="http://schemas.microsoft.com/office/powerpoint/2010/main" id="{54405246-CCE2-4201-BBB1-D3F3EB6E740D}"/>
              </a:ext>
            </a:extLst>
          </p:cNvPr>
          <p:cNvSpPr/>
          <p:nvPr/>
        </p:nvSpPr>
        <p:spPr>
          <a:xfrm>
            <a:off x="2304608" y="4875535"/>
            <a:ext cx="442791" cy="504330"/>
          </a:xfrm>
          <a:custGeom>
            <a:avLst/>
            <a:gdLst>
              <a:gd name="T0" fmla="*/ 240 w 481"/>
              <a:gd name="T1" fmla="*/ 273 h 563"/>
              <a:gd name="T2" fmla="*/ 104 w 481"/>
              <a:gd name="T3" fmla="*/ 137 h 563"/>
              <a:gd name="T4" fmla="*/ 240 w 481"/>
              <a:gd name="T5" fmla="*/ 0 h 563"/>
              <a:gd name="T6" fmla="*/ 377 w 481"/>
              <a:gd name="T7" fmla="*/ 137 h 563"/>
              <a:gd name="T8" fmla="*/ 240 w 481"/>
              <a:gd name="T9" fmla="*/ 273 h 563"/>
              <a:gd name="T10" fmla="*/ 481 w 481"/>
              <a:gd name="T11" fmla="*/ 442 h 563"/>
              <a:gd name="T12" fmla="*/ 479 w 481"/>
              <a:gd name="T13" fmla="*/ 444 h 563"/>
              <a:gd name="T14" fmla="*/ 240 w 481"/>
              <a:gd name="T15" fmla="*/ 563 h 563"/>
              <a:gd name="T16" fmla="*/ 2 w 481"/>
              <a:gd name="T17" fmla="*/ 444 h 563"/>
              <a:gd name="T18" fmla="*/ 0 w 481"/>
              <a:gd name="T19" fmla="*/ 442 h 563"/>
              <a:gd name="T20" fmla="*/ 0 w 481"/>
              <a:gd name="T21" fmla="*/ 439 h 563"/>
              <a:gd name="T22" fmla="*/ 118 w 481"/>
              <a:gd name="T23" fmla="*/ 257 h 563"/>
              <a:gd name="T24" fmla="*/ 123 w 481"/>
              <a:gd name="T25" fmla="*/ 255 h 563"/>
              <a:gd name="T26" fmla="*/ 126 w 481"/>
              <a:gd name="T27" fmla="*/ 259 h 563"/>
              <a:gd name="T28" fmla="*/ 240 w 481"/>
              <a:gd name="T29" fmla="*/ 308 h 563"/>
              <a:gd name="T30" fmla="*/ 354 w 481"/>
              <a:gd name="T31" fmla="*/ 259 h 563"/>
              <a:gd name="T32" fmla="*/ 358 w 481"/>
              <a:gd name="T33" fmla="*/ 255 h 563"/>
              <a:gd name="T34" fmla="*/ 363 w 481"/>
              <a:gd name="T35" fmla="*/ 257 h 563"/>
              <a:gd name="T36" fmla="*/ 481 w 481"/>
              <a:gd name="T37" fmla="*/ 439 h 563"/>
              <a:gd name="T38" fmla="*/ 481 w 481"/>
              <a:gd name="T39" fmla="*/ 442 h 563"/>
              <a:gd name="T40" fmla="*/ 250 w 481"/>
              <a:gd name="T41" fmla="*/ 378 h 563"/>
              <a:gd name="T42" fmla="*/ 273 w 481"/>
              <a:gd name="T43" fmla="*/ 355 h 563"/>
              <a:gd name="T44" fmla="*/ 240 w 481"/>
              <a:gd name="T45" fmla="*/ 322 h 563"/>
              <a:gd name="T46" fmla="*/ 208 w 481"/>
              <a:gd name="T47" fmla="*/ 355 h 563"/>
              <a:gd name="T48" fmla="*/ 230 w 481"/>
              <a:gd name="T49" fmla="*/ 378 h 563"/>
              <a:gd name="T50" fmla="*/ 208 w 481"/>
              <a:gd name="T51" fmla="*/ 501 h 563"/>
              <a:gd name="T52" fmla="*/ 240 w 481"/>
              <a:gd name="T53" fmla="*/ 534 h 563"/>
              <a:gd name="T54" fmla="*/ 273 w 481"/>
              <a:gd name="T55" fmla="*/ 501 h 563"/>
              <a:gd name="T56" fmla="*/ 250 w 481"/>
              <a:gd name="T57" fmla="*/ 378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81" h="563">
                <a:moveTo>
                  <a:pt x="240" y="273"/>
                </a:moveTo>
                <a:cubicBezTo>
                  <a:pt x="165" y="273"/>
                  <a:pt x="104" y="212"/>
                  <a:pt x="104" y="137"/>
                </a:cubicBezTo>
                <a:cubicBezTo>
                  <a:pt x="104" y="61"/>
                  <a:pt x="165" y="0"/>
                  <a:pt x="240" y="0"/>
                </a:cubicBezTo>
                <a:cubicBezTo>
                  <a:pt x="316" y="0"/>
                  <a:pt x="377" y="61"/>
                  <a:pt x="377" y="137"/>
                </a:cubicBezTo>
                <a:cubicBezTo>
                  <a:pt x="377" y="212"/>
                  <a:pt x="316" y="273"/>
                  <a:pt x="240" y="273"/>
                </a:cubicBezTo>
                <a:close/>
                <a:moveTo>
                  <a:pt x="481" y="442"/>
                </a:moveTo>
                <a:lnTo>
                  <a:pt x="479" y="444"/>
                </a:lnTo>
                <a:cubicBezTo>
                  <a:pt x="415" y="521"/>
                  <a:pt x="331" y="563"/>
                  <a:pt x="240" y="563"/>
                </a:cubicBezTo>
                <a:cubicBezTo>
                  <a:pt x="150" y="563"/>
                  <a:pt x="65" y="521"/>
                  <a:pt x="2" y="444"/>
                </a:cubicBezTo>
                <a:lnTo>
                  <a:pt x="0" y="442"/>
                </a:lnTo>
                <a:lnTo>
                  <a:pt x="0" y="439"/>
                </a:lnTo>
                <a:cubicBezTo>
                  <a:pt x="12" y="359"/>
                  <a:pt x="54" y="294"/>
                  <a:pt x="118" y="257"/>
                </a:cubicBezTo>
                <a:lnTo>
                  <a:pt x="123" y="255"/>
                </a:lnTo>
                <a:lnTo>
                  <a:pt x="126" y="259"/>
                </a:lnTo>
                <a:cubicBezTo>
                  <a:pt x="156" y="290"/>
                  <a:pt x="197" y="308"/>
                  <a:pt x="240" y="308"/>
                </a:cubicBezTo>
                <a:cubicBezTo>
                  <a:pt x="284" y="308"/>
                  <a:pt x="324" y="290"/>
                  <a:pt x="354" y="259"/>
                </a:cubicBezTo>
                <a:lnTo>
                  <a:pt x="358" y="255"/>
                </a:lnTo>
                <a:lnTo>
                  <a:pt x="363" y="257"/>
                </a:lnTo>
                <a:cubicBezTo>
                  <a:pt x="426" y="294"/>
                  <a:pt x="468" y="359"/>
                  <a:pt x="481" y="439"/>
                </a:cubicBezTo>
                <a:lnTo>
                  <a:pt x="481" y="442"/>
                </a:lnTo>
                <a:close/>
                <a:moveTo>
                  <a:pt x="250" y="378"/>
                </a:moveTo>
                <a:lnTo>
                  <a:pt x="273" y="355"/>
                </a:lnTo>
                <a:lnTo>
                  <a:pt x="240" y="322"/>
                </a:lnTo>
                <a:lnTo>
                  <a:pt x="208" y="355"/>
                </a:lnTo>
                <a:lnTo>
                  <a:pt x="230" y="378"/>
                </a:lnTo>
                <a:lnTo>
                  <a:pt x="208" y="501"/>
                </a:lnTo>
                <a:lnTo>
                  <a:pt x="240" y="534"/>
                </a:lnTo>
                <a:lnTo>
                  <a:pt x="273" y="501"/>
                </a:lnTo>
                <a:lnTo>
                  <a:pt x="250" y="3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confont-11157-5276543">
            <a:extLst>
              <a:ext uri="{FF2B5EF4-FFF2-40B4-BE49-F238E27FC236}">
                <a16:creationId xmlns="" xmlns:p14="http://schemas.microsoft.com/office/powerpoint/2010/main" xmlns:a16="http://schemas.microsoft.com/office/drawing/2014/main" id="{54405246-CCE2-4201-BBB1-D3F3EB6E740D}"/>
              </a:ext>
            </a:extLst>
          </p:cNvPr>
          <p:cNvSpPr/>
          <p:nvPr/>
        </p:nvSpPr>
        <p:spPr>
          <a:xfrm>
            <a:off x="2286001" y="1920510"/>
            <a:ext cx="480007" cy="470676"/>
          </a:xfrm>
          <a:custGeom>
            <a:avLst/>
            <a:gdLst>
              <a:gd name="connsiteX0" fmla="*/ 400216 w 606080"/>
              <a:gd name="connsiteY0" fmla="*/ 404676 h 606225"/>
              <a:gd name="connsiteX1" fmla="*/ 436274 w 606080"/>
              <a:gd name="connsiteY1" fmla="*/ 404676 h 606225"/>
              <a:gd name="connsiteX2" fmla="*/ 450839 w 606080"/>
              <a:gd name="connsiteY2" fmla="*/ 419242 h 606225"/>
              <a:gd name="connsiteX3" fmla="*/ 450839 w 606080"/>
              <a:gd name="connsiteY3" fmla="*/ 455350 h 606225"/>
              <a:gd name="connsiteX4" fmla="*/ 436274 w 606080"/>
              <a:gd name="connsiteY4" fmla="*/ 469916 h 606225"/>
              <a:gd name="connsiteX5" fmla="*/ 400216 w 606080"/>
              <a:gd name="connsiteY5" fmla="*/ 469916 h 606225"/>
              <a:gd name="connsiteX6" fmla="*/ 385650 w 606080"/>
              <a:gd name="connsiteY6" fmla="*/ 455350 h 606225"/>
              <a:gd name="connsiteX7" fmla="*/ 385650 w 606080"/>
              <a:gd name="connsiteY7" fmla="*/ 419242 h 606225"/>
              <a:gd name="connsiteX8" fmla="*/ 400216 w 606080"/>
              <a:gd name="connsiteY8" fmla="*/ 404676 h 606225"/>
              <a:gd name="connsiteX9" fmla="*/ 400216 w 606080"/>
              <a:gd name="connsiteY9" fmla="*/ 271776 h 606225"/>
              <a:gd name="connsiteX10" fmla="*/ 436274 w 606080"/>
              <a:gd name="connsiteY10" fmla="*/ 271776 h 606225"/>
              <a:gd name="connsiteX11" fmla="*/ 450839 w 606080"/>
              <a:gd name="connsiteY11" fmla="*/ 286342 h 606225"/>
              <a:gd name="connsiteX12" fmla="*/ 450839 w 606080"/>
              <a:gd name="connsiteY12" fmla="*/ 322402 h 606225"/>
              <a:gd name="connsiteX13" fmla="*/ 436274 w 606080"/>
              <a:gd name="connsiteY13" fmla="*/ 337016 h 606225"/>
              <a:gd name="connsiteX14" fmla="*/ 400216 w 606080"/>
              <a:gd name="connsiteY14" fmla="*/ 337016 h 606225"/>
              <a:gd name="connsiteX15" fmla="*/ 385650 w 606080"/>
              <a:gd name="connsiteY15" fmla="*/ 322402 h 606225"/>
              <a:gd name="connsiteX16" fmla="*/ 385650 w 606080"/>
              <a:gd name="connsiteY16" fmla="*/ 286342 h 606225"/>
              <a:gd name="connsiteX17" fmla="*/ 400216 w 606080"/>
              <a:gd name="connsiteY17" fmla="*/ 271776 h 606225"/>
              <a:gd name="connsiteX18" fmla="*/ 145723 w 606080"/>
              <a:gd name="connsiteY18" fmla="*/ 257019 h 606225"/>
              <a:gd name="connsiteX19" fmla="*/ 194116 w 606080"/>
              <a:gd name="connsiteY19" fmla="*/ 257019 h 606225"/>
              <a:gd name="connsiteX20" fmla="*/ 217269 w 606080"/>
              <a:gd name="connsiteY20" fmla="*/ 280174 h 606225"/>
              <a:gd name="connsiteX21" fmla="*/ 217269 w 606080"/>
              <a:gd name="connsiteY21" fmla="*/ 328570 h 606225"/>
              <a:gd name="connsiteX22" fmla="*/ 194116 w 606080"/>
              <a:gd name="connsiteY22" fmla="*/ 351725 h 606225"/>
              <a:gd name="connsiteX23" fmla="*/ 145723 w 606080"/>
              <a:gd name="connsiteY23" fmla="*/ 351725 h 606225"/>
              <a:gd name="connsiteX24" fmla="*/ 122570 w 606080"/>
              <a:gd name="connsiteY24" fmla="*/ 328570 h 606225"/>
              <a:gd name="connsiteX25" fmla="*/ 122570 w 606080"/>
              <a:gd name="connsiteY25" fmla="*/ 280174 h 606225"/>
              <a:gd name="connsiteX26" fmla="*/ 145723 w 606080"/>
              <a:gd name="connsiteY26" fmla="*/ 257019 h 606225"/>
              <a:gd name="connsiteX27" fmla="*/ 400216 w 606080"/>
              <a:gd name="connsiteY27" fmla="*/ 135222 h 606225"/>
              <a:gd name="connsiteX28" fmla="*/ 436274 w 606080"/>
              <a:gd name="connsiteY28" fmla="*/ 135222 h 606225"/>
              <a:gd name="connsiteX29" fmla="*/ 450839 w 606080"/>
              <a:gd name="connsiteY29" fmla="*/ 149788 h 606225"/>
              <a:gd name="connsiteX30" fmla="*/ 450839 w 606080"/>
              <a:gd name="connsiteY30" fmla="*/ 185848 h 606225"/>
              <a:gd name="connsiteX31" fmla="*/ 436274 w 606080"/>
              <a:gd name="connsiteY31" fmla="*/ 200415 h 606225"/>
              <a:gd name="connsiteX32" fmla="*/ 400216 w 606080"/>
              <a:gd name="connsiteY32" fmla="*/ 200415 h 606225"/>
              <a:gd name="connsiteX33" fmla="*/ 385650 w 606080"/>
              <a:gd name="connsiteY33" fmla="*/ 185848 h 606225"/>
              <a:gd name="connsiteX34" fmla="*/ 385650 w 606080"/>
              <a:gd name="connsiteY34" fmla="*/ 149788 h 606225"/>
              <a:gd name="connsiteX35" fmla="*/ 400216 w 606080"/>
              <a:gd name="connsiteY35" fmla="*/ 135222 h 606225"/>
              <a:gd name="connsiteX36" fmla="*/ 400226 w 606080"/>
              <a:gd name="connsiteY36" fmla="*/ 114079 h 606225"/>
              <a:gd name="connsiteX37" fmla="*/ 364597 w 606080"/>
              <a:gd name="connsiteY37" fmla="*/ 149765 h 606225"/>
              <a:gd name="connsiteX38" fmla="*/ 364597 w 606080"/>
              <a:gd name="connsiteY38" fmla="*/ 160157 h 606225"/>
              <a:gd name="connsiteX39" fmla="*/ 300075 w 606080"/>
              <a:gd name="connsiteY39" fmla="*/ 160157 h 606225"/>
              <a:gd name="connsiteX40" fmla="*/ 275642 w 606080"/>
              <a:gd name="connsiteY40" fmla="*/ 184644 h 606225"/>
              <a:gd name="connsiteX41" fmla="*/ 275642 w 606080"/>
              <a:gd name="connsiteY41" fmla="*/ 293883 h 606225"/>
              <a:gd name="connsiteX42" fmla="*/ 238304 w 606080"/>
              <a:gd name="connsiteY42" fmla="*/ 293883 h 606225"/>
              <a:gd name="connsiteX43" fmla="*/ 238304 w 606080"/>
              <a:gd name="connsiteY43" fmla="*/ 280168 h 606225"/>
              <a:gd name="connsiteX44" fmla="*/ 194135 w 606080"/>
              <a:gd name="connsiteY44" fmla="*/ 235989 h 606225"/>
              <a:gd name="connsiteX45" fmla="*/ 145744 w 606080"/>
              <a:gd name="connsiteY45" fmla="*/ 235989 h 606225"/>
              <a:gd name="connsiteX46" fmla="*/ 101575 w 606080"/>
              <a:gd name="connsiteY46" fmla="*/ 280168 h 606225"/>
              <a:gd name="connsiteX47" fmla="*/ 101575 w 606080"/>
              <a:gd name="connsiteY47" fmla="*/ 328572 h 606225"/>
              <a:gd name="connsiteX48" fmla="*/ 145744 w 606080"/>
              <a:gd name="connsiteY48" fmla="*/ 372751 h 606225"/>
              <a:gd name="connsiteX49" fmla="*/ 194135 w 606080"/>
              <a:gd name="connsiteY49" fmla="*/ 372751 h 606225"/>
              <a:gd name="connsiteX50" fmla="*/ 238304 w 606080"/>
              <a:gd name="connsiteY50" fmla="*/ 328572 h 606225"/>
              <a:gd name="connsiteX51" fmla="*/ 238304 w 606080"/>
              <a:gd name="connsiteY51" fmla="*/ 314905 h 606225"/>
              <a:gd name="connsiteX52" fmla="*/ 275642 w 606080"/>
              <a:gd name="connsiteY52" fmla="*/ 314905 h 606225"/>
              <a:gd name="connsiteX53" fmla="*/ 275642 w 606080"/>
              <a:gd name="connsiteY53" fmla="*/ 424049 h 606225"/>
              <a:gd name="connsiteX54" fmla="*/ 300075 w 606080"/>
              <a:gd name="connsiteY54" fmla="*/ 448535 h 606225"/>
              <a:gd name="connsiteX55" fmla="*/ 364502 w 606080"/>
              <a:gd name="connsiteY55" fmla="*/ 448535 h 606225"/>
              <a:gd name="connsiteX56" fmla="*/ 364502 w 606080"/>
              <a:gd name="connsiteY56" fmla="*/ 455274 h 606225"/>
              <a:gd name="connsiteX57" fmla="*/ 400179 w 606080"/>
              <a:gd name="connsiteY57" fmla="*/ 490959 h 606225"/>
              <a:gd name="connsiteX58" fmla="*/ 436235 w 606080"/>
              <a:gd name="connsiteY58" fmla="*/ 490959 h 606225"/>
              <a:gd name="connsiteX59" fmla="*/ 471912 w 606080"/>
              <a:gd name="connsiteY59" fmla="*/ 455274 h 606225"/>
              <a:gd name="connsiteX60" fmla="*/ 471912 w 606080"/>
              <a:gd name="connsiteY60" fmla="*/ 419209 h 606225"/>
              <a:gd name="connsiteX61" fmla="*/ 436235 w 606080"/>
              <a:gd name="connsiteY61" fmla="*/ 383571 h 606225"/>
              <a:gd name="connsiteX62" fmla="*/ 400179 w 606080"/>
              <a:gd name="connsiteY62" fmla="*/ 383571 h 606225"/>
              <a:gd name="connsiteX63" fmla="*/ 364502 w 606080"/>
              <a:gd name="connsiteY63" fmla="*/ 419209 h 606225"/>
              <a:gd name="connsiteX64" fmla="*/ 364502 w 606080"/>
              <a:gd name="connsiteY64" fmla="*/ 427513 h 606225"/>
              <a:gd name="connsiteX65" fmla="*/ 300027 w 606080"/>
              <a:gd name="connsiteY65" fmla="*/ 427513 h 606225"/>
              <a:gd name="connsiteX66" fmla="*/ 296659 w 606080"/>
              <a:gd name="connsiteY66" fmla="*/ 424144 h 606225"/>
              <a:gd name="connsiteX67" fmla="*/ 296659 w 606080"/>
              <a:gd name="connsiteY67" fmla="*/ 314905 h 606225"/>
              <a:gd name="connsiteX68" fmla="*/ 364644 w 606080"/>
              <a:gd name="connsiteY68" fmla="*/ 314905 h 606225"/>
              <a:gd name="connsiteX69" fmla="*/ 364644 w 606080"/>
              <a:gd name="connsiteY69" fmla="*/ 322403 h 606225"/>
              <a:gd name="connsiteX70" fmla="*/ 400273 w 606080"/>
              <a:gd name="connsiteY70" fmla="*/ 358088 h 606225"/>
              <a:gd name="connsiteX71" fmla="*/ 436377 w 606080"/>
              <a:gd name="connsiteY71" fmla="*/ 358088 h 606225"/>
              <a:gd name="connsiteX72" fmla="*/ 472007 w 606080"/>
              <a:gd name="connsiteY72" fmla="*/ 322403 h 606225"/>
              <a:gd name="connsiteX73" fmla="*/ 472007 w 606080"/>
              <a:gd name="connsiteY73" fmla="*/ 286338 h 606225"/>
              <a:gd name="connsiteX74" fmla="*/ 436377 w 606080"/>
              <a:gd name="connsiteY74" fmla="*/ 250700 h 606225"/>
              <a:gd name="connsiteX75" fmla="*/ 400273 w 606080"/>
              <a:gd name="connsiteY75" fmla="*/ 250700 h 606225"/>
              <a:gd name="connsiteX76" fmla="*/ 364644 w 606080"/>
              <a:gd name="connsiteY76" fmla="*/ 286338 h 606225"/>
              <a:gd name="connsiteX77" fmla="*/ 364644 w 606080"/>
              <a:gd name="connsiteY77" fmla="*/ 293883 h 606225"/>
              <a:gd name="connsiteX78" fmla="*/ 296706 w 606080"/>
              <a:gd name="connsiteY78" fmla="*/ 293883 h 606225"/>
              <a:gd name="connsiteX79" fmla="*/ 296706 w 606080"/>
              <a:gd name="connsiteY79" fmla="*/ 184644 h 606225"/>
              <a:gd name="connsiteX80" fmla="*/ 300075 w 606080"/>
              <a:gd name="connsiteY80" fmla="*/ 181274 h 606225"/>
              <a:gd name="connsiteX81" fmla="*/ 364597 w 606080"/>
              <a:gd name="connsiteY81" fmla="*/ 181274 h 606225"/>
              <a:gd name="connsiteX82" fmla="*/ 364597 w 606080"/>
              <a:gd name="connsiteY82" fmla="*/ 185877 h 606225"/>
              <a:gd name="connsiteX83" fmla="*/ 400226 w 606080"/>
              <a:gd name="connsiteY83" fmla="*/ 221563 h 606225"/>
              <a:gd name="connsiteX84" fmla="*/ 436282 w 606080"/>
              <a:gd name="connsiteY84" fmla="*/ 221563 h 606225"/>
              <a:gd name="connsiteX85" fmla="*/ 471959 w 606080"/>
              <a:gd name="connsiteY85" fmla="*/ 185877 h 606225"/>
              <a:gd name="connsiteX86" fmla="*/ 471959 w 606080"/>
              <a:gd name="connsiteY86" fmla="*/ 149765 h 606225"/>
              <a:gd name="connsiteX87" fmla="*/ 436282 w 606080"/>
              <a:gd name="connsiteY87" fmla="*/ 114079 h 606225"/>
              <a:gd name="connsiteX88" fmla="*/ 303064 w 606080"/>
              <a:gd name="connsiteY88" fmla="*/ 0 h 606225"/>
              <a:gd name="connsiteX89" fmla="*/ 606080 w 606080"/>
              <a:gd name="connsiteY89" fmla="*/ 303089 h 606225"/>
              <a:gd name="connsiteX90" fmla="*/ 303064 w 606080"/>
              <a:gd name="connsiteY90" fmla="*/ 606225 h 606225"/>
              <a:gd name="connsiteX91" fmla="*/ 0 w 606080"/>
              <a:gd name="connsiteY91" fmla="*/ 303089 h 606225"/>
              <a:gd name="connsiteX92" fmla="*/ 303064 w 606080"/>
              <a:gd name="connsiteY92" fmla="*/ 0 h 60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06080" h="606225">
                <a:moveTo>
                  <a:pt x="400216" y="404676"/>
                </a:moveTo>
                <a:lnTo>
                  <a:pt x="436274" y="404676"/>
                </a:lnTo>
                <a:cubicBezTo>
                  <a:pt x="444339" y="404676"/>
                  <a:pt x="450839" y="411224"/>
                  <a:pt x="450839" y="419242"/>
                </a:cubicBezTo>
                <a:lnTo>
                  <a:pt x="450839" y="455350"/>
                </a:lnTo>
                <a:cubicBezTo>
                  <a:pt x="450839" y="463368"/>
                  <a:pt x="444339" y="469916"/>
                  <a:pt x="436274" y="469916"/>
                </a:cubicBezTo>
                <a:lnTo>
                  <a:pt x="400216" y="469916"/>
                </a:lnTo>
                <a:cubicBezTo>
                  <a:pt x="392150" y="469916"/>
                  <a:pt x="385650" y="463321"/>
                  <a:pt x="385650" y="455350"/>
                </a:cubicBezTo>
                <a:lnTo>
                  <a:pt x="385650" y="419242"/>
                </a:lnTo>
                <a:cubicBezTo>
                  <a:pt x="385650" y="411224"/>
                  <a:pt x="392150" y="404676"/>
                  <a:pt x="400216" y="404676"/>
                </a:cubicBezTo>
                <a:close/>
                <a:moveTo>
                  <a:pt x="400216" y="271776"/>
                </a:moveTo>
                <a:lnTo>
                  <a:pt x="436274" y="271776"/>
                </a:lnTo>
                <a:cubicBezTo>
                  <a:pt x="444339" y="271776"/>
                  <a:pt x="450839" y="278276"/>
                  <a:pt x="450839" y="286342"/>
                </a:cubicBezTo>
                <a:lnTo>
                  <a:pt x="450839" y="322402"/>
                </a:lnTo>
                <a:cubicBezTo>
                  <a:pt x="450839" y="330468"/>
                  <a:pt x="444339" y="337016"/>
                  <a:pt x="436274" y="337016"/>
                </a:cubicBezTo>
                <a:lnTo>
                  <a:pt x="400216" y="337016"/>
                </a:lnTo>
                <a:cubicBezTo>
                  <a:pt x="392150" y="337016"/>
                  <a:pt x="385650" y="330468"/>
                  <a:pt x="385650" y="322402"/>
                </a:cubicBezTo>
                <a:lnTo>
                  <a:pt x="385650" y="286342"/>
                </a:lnTo>
                <a:cubicBezTo>
                  <a:pt x="385650" y="278276"/>
                  <a:pt x="392150" y="271776"/>
                  <a:pt x="400216" y="271776"/>
                </a:cubicBezTo>
                <a:close/>
                <a:moveTo>
                  <a:pt x="145723" y="257019"/>
                </a:moveTo>
                <a:lnTo>
                  <a:pt x="194116" y="257019"/>
                </a:lnTo>
                <a:cubicBezTo>
                  <a:pt x="206832" y="257019"/>
                  <a:pt x="217222" y="267410"/>
                  <a:pt x="217269" y="280174"/>
                </a:cubicBezTo>
                <a:lnTo>
                  <a:pt x="217269" y="328570"/>
                </a:lnTo>
                <a:cubicBezTo>
                  <a:pt x="217269" y="341381"/>
                  <a:pt x="206926" y="351725"/>
                  <a:pt x="194116" y="351725"/>
                </a:cubicBezTo>
                <a:lnTo>
                  <a:pt x="145723" y="351725"/>
                </a:lnTo>
                <a:cubicBezTo>
                  <a:pt x="132960" y="351725"/>
                  <a:pt x="122570" y="341381"/>
                  <a:pt x="122570" y="328570"/>
                </a:cubicBezTo>
                <a:lnTo>
                  <a:pt x="122570" y="280174"/>
                </a:lnTo>
                <a:cubicBezTo>
                  <a:pt x="122570" y="267410"/>
                  <a:pt x="132960" y="257019"/>
                  <a:pt x="145723" y="257019"/>
                </a:cubicBezTo>
                <a:close/>
                <a:moveTo>
                  <a:pt x="400216" y="135222"/>
                </a:moveTo>
                <a:lnTo>
                  <a:pt x="436274" y="135222"/>
                </a:lnTo>
                <a:cubicBezTo>
                  <a:pt x="444339" y="135222"/>
                  <a:pt x="450839" y="141770"/>
                  <a:pt x="450839" y="149788"/>
                </a:cubicBezTo>
                <a:lnTo>
                  <a:pt x="450839" y="185848"/>
                </a:lnTo>
                <a:cubicBezTo>
                  <a:pt x="450839" y="193914"/>
                  <a:pt x="444339" y="200415"/>
                  <a:pt x="436274" y="200415"/>
                </a:cubicBezTo>
                <a:lnTo>
                  <a:pt x="400216" y="200415"/>
                </a:lnTo>
                <a:cubicBezTo>
                  <a:pt x="392150" y="200415"/>
                  <a:pt x="385650" y="193914"/>
                  <a:pt x="385650" y="185848"/>
                </a:cubicBezTo>
                <a:lnTo>
                  <a:pt x="385650" y="149788"/>
                </a:lnTo>
                <a:cubicBezTo>
                  <a:pt x="385650" y="141722"/>
                  <a:pt x="392150" y="135222"/>
                  <a:pt x="400216" y="135222"/>
                </a:cubicBezTo>
                <a:close/>
                <a:moveTo>
                  <a:pt x="400226" y="114079"/>
                </a:moveTo>
                <a:cubicBezTo>
                  <a:pt x="380585" y="114079"/>
                  <a:pt x="364597" y="130071"/>
                  <a:pt x="364597" y="149765"/>
                </a:cubicBezTo>
                <a:lnTo>
                  <a:pt x="364597" y="160157"/>
                </a:lnTo>
                <a:lnTo>
                  <a:pt x="300075" y="160157"/>
                </a:lnTo>
                <a:cubicBezTo>
                  <a:pt x="286601" y="160157"/>
                  <a:pt x="275642" y="171119"/>
                  <a:pt x="275642" y="184644"/>
                </a:cubicBezTo>
                <a:lnTo>
                  <a:pt x="275642" y="293883"/>
                </a:lnTo>
                <a:lnTo>
                  <a:pt x="238304" y="293883"/>
                </a:lnTo>
                <a:lnTo>
                  <a:pt x="238304" y="280168"/>
                </a:lnTo>
                <a:cubicBezTo>
                  <a:pt x="238304" y="255825"/>
                  <a:pt x="218521" y="235989"/>
                  <a:pt x="194135" y="235989"/>
                </a:cubicBezTo>
                <a:lnTo>
                  <a:pt x="145744" y="235989"/>
                </a:lnTo>
                <a:cubicBezTo>
                  <a:pt x="121406" y="235989"/>
                  <a:pt x="101575" y="255777"/>
                  <a:pt x="101575" y="280168"/>
                </a:cubicBezTo>
                <a:lnTo>
                  <a:pt x="101575" y="328572"/>
                </a:lnTo>
                <a:cubicBezTo>
                  <a:pt x="101575" y="352916"/>
                  <a:pt x="121358" y="372751"/>
                  <a:pt x="145744" y="372751"/>
                </a:cubicBezTo>
                <a:lnTo>
                  <a:pt x="194135" y="372751"/>
                </a:lnTo>
                <a:cubicBezTo>
                  <a:pt x="218473" y="372751"/>
                  <a:pt x="238304" y="353010"/>
                  <a:pt x="238304" y="328572"/>
                </a:cubicBezTo>
                <a:lnTo>
                  <a:pt x="238304" y="314905"/>
                </a:lnTo>
                <a:lnTo>
                  <a:pt x="275642" y="314905"/>
                </a:lnTo>
                <a:lnTo>
                  <a:pt x="275642" y="424049"/>
                </a:lnTo>
                <a:cubicBezTo>
                  <a:pt x="275642" y="437573"/>
                  <a:pt x="286601" y="448535"/>
                  <a:pt x="300075" y="448535"/>
                </a:cubicBezTo>
                <a:lnTo>
                  <a:pt x="364502" y="448535"/>
                </a:lnTo>
                <a:lnTo>
                  <a:pt x="364502" y="455274"/>
                </a:lnTo>
                <a:cubicBezTo>
                  <a:pt x="364502" y="474967"/>
                  <a:pt x="380490" y="490959"/>
                  <a:pt x="400179" y="490959"/>
                </a:cubicBezTo>
                <a:lnTo>
                  <a:pt x="436235" y="490959"/>
                </a:lnTo>
                <a:cubicBezTo>
                  <a:pt x="455924" y="490959"/>
                  <a:pt x="471912" y="474967"/>
                  <a:pt x="471912" y="455274"/>
                </a:cubicBezTo>
                <a:lnTo>
                  <a:pt x="471912" y="419209"/>
                </a:lnTo>
                <a:cubicBezTo>
                  <a:pt x="471912" y="399563"/>
                  <a:pt x="455924" y="383571"/>
                  <a:pt x="436235" y="383571"/>
                </a:cubicBezTo>
                <a:lnTo>
                  <a:pt x="400179" y="383571"/>
                </a:lnTo>
                <a:cubicBezTo>
                  <a:pt x="380490" y="383571"/>
                  <a:pt x="364502" y="399563"/>
                  <a:pt x="364502" y="419209"/>
                </a:cubicBezTo>
                <a:lnTo>
                  <a:pt x="364502" y="427513"/>
                </a:lnTo>
                <a:lnTo>
                  <a:pt x="300027" y="427513"/>
                </a:lnTo>
                <a:cubicBezTo>
                  <a:pt x="298177" y="427513"/>
                  <a:pt x="296659" y="426042"/>
                  <a:pt x="296659" y="424144"/>
                </a:cubicBezTo>
                <a:lnTo>
                  <a:pt x="296659" y="314905"/>
                </a:lnTo>
                <a:lnTo>
                  <a:pt x="364644" y="314905"/>
                </a:lnTo>
                <a:lnTo>
                  <a:pt x="364644" y="322403"/>
                </a:lnTo>
                <a:cubicBezTo>
                  <a:pt x="364644" y="342096"/>
                  <a:pt x="380632" y="358088"/>
                  <a:pt x="400273" y="358088"/>
                </a:cubicBezTo>
                <a:lnTo>
                  <a:pt x="436377" y="358088"/>
                </a:lnTo>
                <a:cubicBezTo>
                  <a:pt x="456019" y="358088"/>
                  <a:pt x="472007" y="342096"/>
                  <a:pt x="472007" y="322403"/>
                </a:cubicBezTo>
                <a:lnTo>
                  <a:pt x="472007" y="286338"/>
                </a:lnTo>
                <a:cubicBezTo>
                  <a:pt x="472007" y="266692"/>
                  <a:pt x="456019" y="250700"/>
                  <a:pt x="436377" y="250700"/>
                </a:cubicBezTo>
                <a:lnTo>
                  <a:pt x="400273" y="250700"/>
                </a:lnTo>
                <a:cubicBezTo>
                  <a:pt x="380632" y="250700"/>
                  <a:pt x="364644" y="266692"/>
                  <a:pt x="364644" y="286338"/>
                </a:cubicBezTo>
                <a:lnTo>
                  <a:pt x="364644" y="293883"/>
                </a:lnTo>
                <a:lnTo>
                  <a:pt x="296706" y="293883"/>
                </a:lnTo>
                <a:lnTo>
                  <a:pt x="296706" y="184644"/>
                </a:lnTo>
                <a:cubicBezTo>
                  <a:pt x="296706" y="182793"/>
                  <a:pt x="298177" y="181274"/>
                  <a:pt x="300075" y="181274"/>
                </a:cubicBezTo>
                <a:lnTo>
                  <a:pt x="364597" y="181274"/>
                </a:lnTo>
                <a:lnTo>
                  <a:pt x="364597" y="185877"/>
                </a:lnTo>
                <a:cubicBezTo>
                  <a:pt x="364597" y="205571"/>
                  <a:pt x="380585" y="221563"/>
                  <a:pt x="400226" y="221563"/>
                </a:cubicBezTo>
                <a:lnTo>
                  <a:pt x="436282" y="221563"/>
                </a:lnTo>
                <a:cubicBezTo>
                  <a:pt x="455971" y="221563"/>
                  <a:pt x="471959" y="205571"/>
                  <a:pt x="471959" y="185877"/>
                </a:cubicBezTo>
                <a:lnTo>
                  <a:pt x="471959" y="149765"/>
                </a:lnTo>
                <a:cubicBezTo>
                  <a:pt x="471959" y="130071"/>
                  <a:pt x="455971" y="114079"/>
                  <a:pt x="436282" y="114079"/>
                </a:cubicBezTo>
                <a:close/>
                <a:moveTo>
                  <a:pt x="303064" y="0"/>
                </a:moveTo>
                <a:cubicBezTo>
                  <a:pt x="470489" y="0"/>
                  <a:pt x="606127" y="135718"/>
                  <a:pt x="606080" y="303089"/>
                </a:cubicBezTo>
                <a:cubicBezTo>
                  <a:pt x="606080" y="470507"/>
                  <a:pt x="470394" y="606225"/>
                  <a:pt x="303064" y="606225"/>
                </a:cubicBezTo>
                <a:cubicBezTo>
                  <a:pt x="135686" y="606225"/>
                  <a:pt x="0" y="470507"/>
                  <a:pt x="0" y="303089"/>
                </a:cubicBezTo>
                <a:cubicBezTo>
                  <a:pt x="0" y="135718"/>
                  <a:pt x="135686" y="0"/>
                  <a:pt x="30306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文本框 3"/>
          <p:cNvSpPr txBox="1"/>
          <p:nvPr/>
        </p:nvSpPr>
        <p:spPr>
          <a:xfrm>
            <a:off x="2619268" y="1953643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 smtClean="0"/>
              <a:t>部门</a:t>
            </a:r>
            <a:endParaRPr lang="zh-CN" altLang="en-US" sz="2000" dirty="0"/>
          </a:p>
        </p:txBody>
      </p:sp>
      <p:sp>
        <p:nvSpPr>
          <p:cNvPr id="8" name="文本框 7"/>
          <p:cNvSpPr txBox="1"/>
          <p:nvPr/>
        </p:nvSpPr>
        <p:spPr>
          <a:xfrm>
            <a:off x="2619268" y="4978776"/>
            <a:ext cx="131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 smtClean="0"/>
              <a:t>员工</a:t>
            </a:r>
            <a:endParaRPr lang="zh-CN" altLang="en-US" sz="2000" dirty="0"/>
          </a:p>
        </p:txBody>
      </p:sp>
      <p:sp>
        <p:nvSpPr>
          <p:cNvPr id="9" name="右箭头 8"/>
          <p:cNvSpPr/>
          <p:nvPr/>
        </p:nvSpPr>
        <p:spPr>
          <a:xfrm rot="5400000">
            <a:off x="1766405" y="3281303"/>
            <a:ext cx="1433619" cy="847216"/>
          </a:xfrm>
          <a:prstGeom prst="righ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右箭头 9"/>
          <p:cNvSpPr/>
          <p:nvPr/>
        </p:nvSpPr>
        <p:spPr>
          <a:xfrm rot="16200000" flipV="1">
            <a:off x="2632492" y="3311204"/>
            <a:ext cx="1463044" cy="757990"/>
          </a:xfrm>
          <a:prstGeom prst="righ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635293" y="3149818"/>
            <a:ext cx="1310640" cy="960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/>
              <a:t>分配合同</a:t>
            </a:r>
            <a:r>
              <a:rPr lang="en-US" altLang="zh-CN" sz="2000" dirty="0" smtClean="0"/>
              <a:t>/</a:t>
            </a:r>
          </a:p>
          <a:p>
            <a:pPr algn="ctr">
              <a:lnSpc>
                <a:spcPct val="150000"/>
              </a:lnSpc>
            </a:pPr>
            <a:r>
              <a:rPr lang="zh-CN" altLang="en-US" sz="2000" dirty="0" smtClean="0"/>
              <a:t>收回合同</a:t>
            </a:r>
            <a:endParaRPr lang="zh-CN" altLang="en-US" sz="2000" dirty="0"/>
          </a:p>
        </p:txBody>
      </p:sp>
      <p:sp>
        <p:nvSpPr>
          <p:cNvPr id="12" name="文本框 11"/>
          <p:cNvSpPr txBox="1"/>
          <p:nvPr/>
        </p:nvSpPr>
        <p:spPr>
          <a:xfrm>
            <a:off x="3929908" y="3173319"/>
            <a:ext cx="13106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/>
              <a:t>个人申领</a:t>
            </a:r>
            <a:r>
              <a:rPr lang="en-US" altLang="zh-CN" sz="2000" dirty="0" smtClean="0"/>
              <a:t>/</a:t>
            </a:r>
          </a:p>
          <a:p>
            <a:pPr algn="ctr">
              <a:lnSpc>
                <a:spcPct val="150000"/>
              </a:lnSpc>
            </a:pPr>
            <a:r>
              <a:rPr lang="zh-CN" altLang="en-US" sz="2000" dirty="0"/>
              <a:t>返还合同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441959" y="1602853"/>
            <a:ext cx="5109095" cy="4083783"/>
          </a:xfrm>
          <a:prstGeom prst="roundRect">
            <a:avLst>
              <a:gd name="adj" fmla="val 10846"/>
            </a:avLst>
          </a:prstGeom>
          <a:noFill/>
          <a:ln w="1905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3516690" y="1847020"/>
            <a:ext cx="18956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dirty="0" smtClean="0"/>
              <a:t>（部门间借调）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2164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420099" y="61261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xmlns="" id="{FEE52B56-4C8A-55F7-0D73-1555A0207524}"/>
              </a:ext>
            </a:extLst>
          </p:cNvPr>
          <p:cNvSpPr txBox="1">
            <a:spLocks/>
          </p:cNvSpPr>
          <p:nvPr/>
        </p:nvSpPr>
        <p:spPr>
          <a:xfrm>
            <a:off x="587375" y="574154"/>
            <a:ext cx="10850563" cy="1028699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0831A2"/>
                </a:solidFill>
                <a:latin typeface="+mn-ea"/>
              </a:rPr>
              <a:t>▌ </a:t>
            </a:r>
            <a:r>
              <a:rPr lang="en-US" altLang="zh-CN" dirty="0" smtClean="0">
                <a:latin typeface="+mn-ea"/>
                <a:sym typeface="+mn-ea"/>
              </a:rPr>
              <a:t>3. </a:t>
            </a:r>
            <a:r>
              <a:rPr lang="zh-CN" altLang="en-US" dirty="0" smtClean="0">
                <a:latin typeface="+mn-ea"/>
                <a:sym typeface="+mn-ea"/>
              </a:rPr>
              <a:t>合同归档管理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1036637" y="1333026"/>
            <a:ext cx="9952038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 smtClean="0"/>
              <a:t>*</a:t>
            </a:r>
            <a:r>
              <a:rPr lang="zh-CN" altLang="en-US" dirty="0" smtClean="0"/>
              <a:t>档案箱管理：记录实物合同的存放地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smtClean="0"/>
              <a:t>*</a:t>
            </a:r>
            <a:r>
              <a:rPr lang="zh-CN" altLang="en-US" dirty="0" smtClean="0"/>
              <a:t>客户已归档合同查询：按个人权限查看每个客户账号下的归档合同列表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637" y="2584704"/>
            <a:ext cx="9869488" cy="255960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649615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ŝḷíḓè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íṩļíḋé" hidden="1">
                        <a:extLst>
                          <a:ext uri="{FF2B5EF4-FFF2-40B4-BE49-F238E27FC236}">
                            <a16:creationId xmlns:a16="http://schemas.microsoft.com/office/drawing/2014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ṩḻïďe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ṥ1îḋê"/>
          <p:cNvSpPr>
            <a:spLocks noGrp="1"/>
          </p:cNvSpPr>
          <p:nvPr>
            <p:ph type="ctrTitle"/>
          </p:nvPr>
        </p:nvSpPr>
        <p:spPr>
          <a:xfrm>
            <a:off x="674690" y="1375383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8000" dirty="0"/>
              <a:t>Thanks</a:t>
            </a:r>
            <a:endParaRPr lang="zh-CN" altLang="en-US" sz="8000" dirty="0"/>
          </a:p>
        </p:txBody>
      </p:sp>
      <p:pic>
        <p:nvPicPr>
          <p:cNvPr id="3114" name="Picture 42" descr="C:\Users\jay\Documents\Tencent Files\1139131015\FileRecv\澎博logo-白 (1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" y="251158"/>
            <a:ext cx="1196340" cy="33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5" name="Picture 43" descr="C:\Users\jay\Documents\Tencent Files\1139131015\FileRecv\德索logo-白色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710" y="234860"/>
            <a:ext cx="1266189" cy="367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673102" y="3145028"/>
            <a:ext cx="10845798" cy="870791"/>
          </a:xfrm>
        </p:spPr>
        <p:txBody>
          <a:bodyPr/>
          <a:lstStyle/>
          <a:p>
            <a:r>
              <a:rPr lang="zh-CN" altLang="en-US" sz="1200" dirty="0"/>
              <a:t>本文档及其所含信息为机密材料，版权由德索信息公司拥有</a:t>
            </a:r>
          </a:p>
          <a:p>
            <a:r>
              <a:rPr lang="zh-CN" altLang="en-US" sz="1200" dirty="0"/>
              <a:t>本文档中的任何部分都不得以任何手段任何形式进行复制与传播</a:t>
            </a:r>
          </a:p>
          <a:p>
            <a:r>
              <a:rPr lang="zh-CN" altLang="en-US" sz="1200" dirty="0"/>
              <a:t>未经德索信息书面授权，不得将材料泄露给第三方</a:t>
            </a:r>
          </a:p>
        </p:txBody>
      </p:sp>
      <p:sp>
        <p:nvSpPr>
          <p:cNvPr id="45" name="页脚占位符 5"/>
          <p:cNvSpPr txBox="1">
            <a:spLocks/>
          </p:cNvSpPr>
          <p:nvPr/>
        </p:nvSpPr>
        <p:spPr>
          <a:xfrm>
            <a:off x="4025900" y="4299127"/>
            <a:ext cx="4140200" cy="206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800" dirty="0">
                <a:solidFill>
                  <a:schemeClr val="bg1"/>
                </a:solidFill>
              </a:rPr>
              <a:t>www.datasolution.com.cn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96231"/>
  <p:tag name="ISLIDE.TEMPLATE" val="2e4d4ce1-63ea-4e06-8b5b-d1e8ed8dec9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5048D"/>
      </a:accent1>
      <a:accent2>
        <a:srgbClr val="0836A4"/>
      </a:accent2>
      <a:accent3>
        <a:srgbClr val="061E99"/>
      </a:accent3>
      <a:accent4>
        <a:srgbClr val="15FFFF"/>
      </a:accent4>
      <a:accent5>
        <a:srgbClr val="FD63FF"/>
      </a:accent5>
      <a:accent6>
        <a:srgbClr val="1057B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5048D"/>
    </a:accent1>
    <a:accent2>
      <a:srgbClr val="0836A4"/>
    </a:accent2>
    <a:accent3>
      <a:srgbClr val="061E99"/>
    </a:accent3>
    <a:accent4>
      <a:srgbClr val="15FFFF"/>
    </a:accent4>
    <a:accent5>
      <a:srgbClr val="FD63FF"/>
    </a:accent5>
    <a:accent6>
      <a:srgbClr val="1057B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5048D"/>
    </a:accent1>
    <a:accent2>
      <a:srgbClr val="0836A4"/>
    </a:accent2>
    <a:accent3>
      <a:srgbClr val="061E99"/>
    </a:accent3>
    <a:accent4>
      <a:srgbClr val="15FFFF"/>
    </a:accent4>
    <a:accent5>
      <a:srgbClr val="FD63FF"/>
    </a:accent5>
    <a:accent6>
      <a:srgbClr val="1057B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4936</TotalTime>
  <Words>287</Words>
  <Application>Microsoft Office PowerPoint</Application>
  <PresentationFormat>宽屏</PresentationFormat>
  <Paragraphs>72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7" baseType="lpstr">
      <vt:lpstr>等线</vt:lpstr>
      <vt:lpstr>宋体</vt:lpstr>
      <vt:lpstr>微软雅黑</vt:lpstr>
      <vt:lpstr>Arial</vt:lpstr>
      <vt:lpstr>Calibri</vt:lpstr>
      <vt:lpstr>Wingdings</vt:lpstr>
      <vt:lpstr>主题5</vt:lpstr>
      <vt:lpstr>think-cell Slide</vt:lpstr>
      <vt:lpstr>德索合同管理平台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dmin</cp:lastModifiedBy>
  <cp:revision>1183</cp:revision>
  <cp:lastPrinted>2020-11-12T16:00:00Z</cp:lastPrinted>
  <dcterms:created xsi:type="dcterms:W3CDTF">2020-11-12T16:00:00Z</dcterms:created>
  <dcterms:modified xsi:type="dcterms:W3CDTF">2025-01-09T07:5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2e4d4ce1-63ea-4e06-8b5b-d1e8ed8dec97</vt:lpwstr>
  </property>
</Properties>
</file>